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89"/>
  </p:notesMasterIdLst>
  <p:sldIdLst>
    <p:sldId id="261" r:id="rId2"/>
    <p:sldId id="3996" r:id="rId3"/>
    <p:sldId id="259" r:id="rId4"/>
    <p:sldId id="262" r:id="rId5"/>
    <p:sldId id="263" r:id="rId6"/>
    <p:sldId id="264" r:id="rId7"/>
    <p:sldId id="276" r:id="rId8"/>
    <p:sldId id="277" r:id="rId9"/>
    <p:sldId id="265" r:id="rId10"/>
    <p:sldId id="278" r:id="rId11"/>
    <p:sldId id="266" r:id="rId12"/>
    <p:sldId id="267" r:id="rId13"/>
    <p:sldId id="268" r:id="rId14"/>
    <p:sldId id="269" r:id="rId15"/>
    <p:sldId id="847" r:id="rId16"/>
    <p:sldId id="854" r:id="rId17"/>
    <p:sldId id="3993" r:id="rId18"/>
    <p:sldId id="3998" r:id="rId19"/>
    <p:sldId id="852" r:id="rId20"/>
    <p:sldId id="923" r:id="rId21"/>
    <p:sldId id="3999" r:id="rId22"/>
    <p:sldId id="4022" r:id="rId23"/>
    <p:sldId id="869" r:id="rId24"/>
    <p:sldId id="859" r:id="rId25"/>
    <p:sldId id="931" r:id="rId26"/>
    <p:sldId id="860" r:id="rId27"/>
    <p:sldId id="863" r:id="rId28"/>
    <p:sldId id="862" r:id="rId29"/>
    <p:sldId id="932" r:id="rId30"/>
    <p:sldId id="995" r:id="rId31"/>
    <p:sldId id="992" r:id="rId32"/>
    <p:sldId id="1001" r:id="rId33"/>
    <p:sldId id="3997" r:id="rId34"/>
    <p:sldId id="4000" r:id="rId35"/>
    <p:sldId id="1033" r:id="rId36"/>
    <p:sldId id="792" r:id="rId37"/>
    <p:sldId id="793" r:id="rId38"/>
    <p:sldId id="798" r:id="rId39"/>
    <p:sldId id="799" r:id="rId40"/>
    <p:sldId id="789" r:id="rId41"/>
    <p:sldId id="791" r:id="rId42"/>
    <p:sldId id="4001" r:id="rId43"/>
    <p:sldId id="4002" r:id="rId44"/>
    <p:sldId id="1041" r:id="rId45"/>
    <p:sldId id="4003" r:id="rId46"/>
    <p:sldId id="943" r:id="rId47"/>
    <p:sldId id="4004" r:id="rId48"/>
    <p:sldId id="945" r:id="rId49"/>
    <p:sldId id="4005" r:id="rId50"/>
    <p:sldId id="4006" r:id="rId51"/>
    <p:sldId id="4007" r:id="rId52"/>
    <p:sldId id="1043" r:id="rId53"/>
    <p:sldId id="1044" r:id="rId54"/>
    <p:sldId id="953" r:id="rId55"/>
    <p:sldId id="4008" r:id="rId56"/>
    <p:sldId id="903" r:id="rId57"/>
    <p:sldId id="3995" r:id="rId58"/>
    <p:sldId id="956" r:id="rId59"/>
    <p:sldId id="957" r:id="rId60"/>
    <p:sldId id="4009" r:id="rId61"/>
    <p:sldId id="1046" r:id="rId62"/>
    <p:sldId id="960" r:id="rId63"/>
    <p:sldId id="1047" r:id="rId64"/>
    <p:sldId id="1048" r:id="rId65"/>
    <p:sldId id="1049" r:id="rId66"/>
    <p:sldId id="1050" r:id="rId67"/>
    <p:sldId id="1051" r:id="rId68"/>
    <p:sldId id="4010" r:id="rId69"/>
    <p:sldId id="3986" r:id="rId70"/>
    <p:sldId id="3985" r:id="rId71"/>
    <p:sldId id="1054" r:id="rId72"/>
    <p:sldId id="4011" r:id="rId73"/>
    <p:sldId id="4012" r:id="rId74"/>
    <p:sldId id="4013" r:id="rId75"/>
    <p:sldId id="4014" r:id="rId76"/>
    <p:sldId id="4016" r:id="rId77"/>
    <p:sldId id="4017" r:id="rId78"/>
    <p:sldId id="4018" r:id="rId79"/>
    <p:sldId id="4015" r:id="rId80"/>
    <p:sldId id="4019" r:id="rId81"/>
    <p:sldId id="4020" r:id="rId82"/>
    <p:sldId id="1069" r:id="rId83"/>
    <p:sldId id="4021" r:id="rId84"/>
    <p:sldId id="878" r:id="rId85"/>
    <p:sldId id="774" r:id="rId86"/>
    <p:sldId id="1071" r:id="rId87"/>
    <p:sldId id="879" r:id="rId88"/>
  </p:sldIdLst>
  <p:sldSz cx="12192000" cy="6858000"/>
  <p:notesSz cx="6858000" cy="9144000"/>
  <p:custDataLst>
    <p:tags r:id="rId9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C5CFD0-EF40-4C4D-A70F-C00C3D4636E7}" v="1" dt="2023-09-09T08:11:41.5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74" d="100"/>
          <a:sy n="74" d="100"/>
        </p:scale>
        <p:origin x="1013" y="58"/>
      </p:cViewPr>
      <p:guideLst>
        <p:guide orient="horz" pos="2137"/>
        <p:guide pos="384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gs" Target="tags/tag1.xml"/><Relationship Id="rId95" Type="http://schemas.microsoft.com/office/2016/11/relationships/changesInfo" Target="changesInfos/changesInfo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roslav Zhydyk" userId="feca11449df7c5ed" providerId="LiveId" clId="{FEC5CFD0-EF40-4C4D-A70F-C00C3D4636E7}"/>
    <pc:docChg chg="custSel modSld">
      <pc:chgData name="Yaroslav Zhydyk" userId="feca11449df7c5ed" providerId="LiveId" clId="{FEC5CFD0-EF40-4C4D-A70F-C00C3D4636E7}" dt="2023-09-09T08:11:41.547" v="1" actId="478"/>
      <pc:docMkLst>
        <pc:docMk/>
      </pc:docMkLst>
      <pc:sldChg chg="delSp mod">
        <pc:chgData name="Yaroslav Zhydyk" userId="feca11449df7c5ed" providerId="LiveId" clId="{FEC5CFD0-EF40-4C4D-A70F-C00C3D4636E7}" dt="2023-09-09T08:11:29.877" v="0" actId="478"/>
        <pc:sldMkLst>
          <pc:docMk/>
          <pc:sldMk cId="980141862" sldId="261"/>
        </pc:sldMkLst>
        <pc:picChg chg="del">
          <ac:chgData name="Yaroslav Zhydyk" userId="feca11449df7c5ed" providerId="LiveId" clId="{FEC5CFD0-EF40-4C4D-A70F-C00C3D4636E7}" dt="2023-09-09T08:11:29.877" v="0" actId="478"/>
          <ac:picMkLst>
            <pc:docMk/>
            <pc:sldMk cId="980141862" sldId="261"/>
            <ac:picMk id="10" creationId="{D33600C4-DC7C-487F-9416-8C7112432B9A}"/>
          </ac:picMkLst>
        </pc:picChg>
      </pc:sldChg>
      <pc:sldChg chg="delSp">
        <pc:chgData name="Yaroslav Zhydyk" userId="feca11449df7c5ed" providerId="LiveId" clId="{FEC5CFD0-EF40-4C4D-A70F-C00C3D4636E7}" dt="2023-09-09T08:11:41.547" v="1" actId="478"/>
        <pc:sldMkLst>
          <pc:docMk/>
          <pc:sldMk cId="381231862" sldId="869"/>
        </pc:sldMkLst>
        <pc:picChg chg="del">
          <ac:chgData name="Yaroslav Zhydyk" userId="feca11449df7c5ed" providerId="LiveId" clId="{FEC5CFD0-EF40-4C4D-A70F-C00C3D4636E7}" dt="2023-09-09T08:11:41.547" v="1" actId="478"/>
          <ac:picMkLst>
            <pc:docMk/>
            <pc:sldMk cId="381231862" sldId="869"/>
            <ac:picMk id="6" creationId="{C7C9FA90-50AE-43DF-9197-250EEDFC6334}"/>
          </ac:picMkLst>
        </pc:picChg>
      </pc:sldChg>
    </pc:docChg>
  </pc:docChgLst>
  <pc:docChgLst>
    <pc:chgData name="Yaroslav Zhydyk" userId="feca11449df7c5ed" providerId="LiveId" clId="{DEB4F5E9-665E-474A-A1DA-C825ECC08A2E}"/>
    <pc:docChg chg="undo redo custSel addSld delSld modSld sldOrd modMainMaster replTag">
      <pc:chgData name="Yaroslav Zhydyk" userId="feca11449df7c5ed" providerId="LiveId" clId="{DEB4F5E9-665E-474A-A1DA-C825ECC08A2E}" dt="2022-11-12T18:34:22.578" v="970" actId="47"/>
      <pc:docMkLst>
        <pc:docMk/>
      </pc:docMkLst>
      <pc:sldChg chg="del">
        <pc:chgData name="Yaroslav Zhydyk" userId="feca11449df7c5ed" providerId="LiveId" clId="{DEB4F5E9-665E-474A-A1DA-C825ECC08A2E}" dt="2022-11-11T15:43:09.941" v="2" actId="47"/>
        <pc:sldMkLst>
          <pc:docMk/>
          <pc:sldMk cId="3493935180" sldId="256"/>
        </pc:sldMkLst>
      </pc:sldChg>
      <pc:sldChg chg="del">
        <pc:chgData name="Yaroslav Zhydyk" userId="feca11449df7c5ed" providerId="LiveId" clId="{DEB4F5E9-665E-474A-A1DA-C825ECC08A2E}" dt="2022-11-11T15:43:09.941" v="2" actId="47"/>
        <pc:sldMkLst>
          <pc:docMk/>
          <pc:sldMk cId="2207511441" sldId="257"/>
        </pc:sldMkLst>
      </pc:sldChg>
      <pc:sldChg chg="del">
        <pc:chgData name="Yaroslav Zhydyk" userId="feca11449df7c5ed" providerId="LiveId" clId="{DEB4F5E9-665E-474A-A1DA-C825ECC08A2E}" dt="2022-11-11T15:43:09.941" v="2" actId="47"/>
        <pc:sldMkLst>
          <pc:docMk/>
          <pc:sldMk cId="428792147" sldId="258"/>
        </pc:sldMkLst>
      </pc:sldChg>
      <pc:sldChg chg="addSp delSp modSp add mod modTransition modClrScheme chgLayout">
        <pc:chgData name="Yaroslav Zhydyk" userId="feca11449df7c5ed" providerId="LiveId" clId="{DEB4F5E9-665E-474A-A1DA-C825ECC08A2E}" dt="2022-11-12T16:32:20.949" v="348"/>
        <pc:sldMkLst>
          <pc:docMk/>
          <pc:sldMk cId="2026111613" sldId="259"/>
        </pc:sldMkLst>
        <pc:spChg chg="mod ord topLvl">
          <ac:chgData name="Yaroslav Zhydyk" userId="feca11449df7c5ed" providerId="LiveId" clId="{DEB4F5E9-665E-474A-A1DA-C825ECC08A2E}" dt="2022-11-12T16:14:32.869" v="39"/>
          <ac:spMkLst>
            <pc:docMk/>
            <pc:sldMk cId="2026111613" sldId="259"/>
            <ac:spMk id="3" creationId="{DA907573-8669-2953-0575-9AB117F7477A}"/>
          </ac:spMkLst>
        </pc:spChg>
        <pc:spChg chg="del mod ord">
          <ac:chgData name="Yaroslav Zhydyk" userId="feca11449df7c5ed" providerId="LiveId" clId="{DEB4F5E9-665E-474A-A1DA-C825ECC08A2E}" dt="2022-11-12T16:14:01.553" v="29" actId="478"/>
          <ac:spMkLst>
            <pc:docMk/>
            <pc:sldMk cId="2026111613" sldId="259"/>
            <ac:spMk id="5" creationId="{805F823C-4B4D-4EC8-15D7-D1C57874B9C0}"/>
          </ac:spMkLst>
        </pc:spChg>
        <pc:spChg chg="mod ord topLvl">
          <ac:chgData name="Yaroslav Zhydyk" userId="feca11449df7c5ed" providerId="LiveId" clId="{DEB4F5E9-665E-474A-A1DA-C825ECC08A2E}" dt="2022-11-12T16:14:47.481" v="52" actId="208"/>
          <ac:spMkLst>
            <pc:docMk/>
            <pc:sldMk cId="2026111613" sldId="259"/>
            <ac:spMk id="6" creationId="{022C2468-4946-839D-1137-111C3351D7A6}"/>
          </ac:spMkLst>
        </pc:spChg>
        <pc:spChg chg="mod ord topLvl">
          <ac:chgData name="Yaroslav Zhydyk" userId="feca11449df7c5ed" providerId="LiveId" clId="{DEB4F5E9-665E-474A-A1DA-C825ECC08A2E}" dt="2022-11-12T16:14:32.872" v="43"/>
          <ac:spMkLst>
            <pc:docMk/>
            <pc:sldMk cId="2026111613" sldId="259"/>
            <ac:spMk id="7" creationId="{BE3C2C7F-31E6-928D-9EF2-2FB84992D825}"/>
          </ac:spMkLst>
        </pc:spChg>
        <pc:spChg chg="mod ord topLvl">
          <ac:chgData name="Yaroslav Zhydyk" userId="feca11449df7c5ed" providerId="LiveId" clId="{DEB4F5E9-665E-474A-A1DA-C825ECC08A2E}" dt="2022-11-12T16:14:53.990" v="54" actId="207"/>
          <ac:spMkLst>
            <pc:docMk/>
            <pc:sldMk cId="2026111613" sldId="259"/>
            <ac:spMk id="8" creationId="{B883BFF6-7CA0-0836-FA2F-87184D1E9B10}"/>
          </ac:spMkLst>
        </pc:spChg>
        <pc:spChg chg="add del mod">
          <ac:chgData name="Yaroslav Zhydyk" userId="feca11449df7c5ed" providerId="LiveId" clId="{DEB4F5E9-665E-474A-A1DA-C825ECC08A2E}" dt="2022-11-12T16:14:02.877" v="30" actId="478"/>
          <ac:spMkLst>
            <pc:docMk/>
            <pc:sldMk cId="2026111613" sldId="259"/>
            <ac:spMk id="9" creationId="{50305C84-CBDF-A6EB-7E31-AB5AC70FA32E}"/>
          </ac:spMkLst>
        </pc:spChg>
        <pc:spChg chg="add mod ord">
          <ac:chgData name="Yaroslav Zhydyk" userId="feca11449df7c5ed" providerId="LiveId" clId="{DEB4F5E9-665E-474A-A1DA-C825ECC08A2E}" dt="2022-11-12T16:14:40.618" v="51" actId="207"/>
          <ac:spMkLst>
            <pc:docMk/>
            <pc:sldMk cId="2026111613" sldId="259"/>
            <ac:spMk id="11" creationId="{299CC1EA-3C48-7F27-71A4-D983E3D98A4A}"/>
          </ac:spMkLst>
        </pc:spChg>
        <pc:spChg chg="add mod">
          <ac:chgData name="Yaroslav Zhydyk" userId="feca11449df7c5ed" providerId="LiveId" clId="{DEB4F5E9-665E-474A-A1DA-C825ECC08A2E}" dt="2022-11-12T16:32:20.949" v="348"/>
          <ac:spMkLst>
            <pc:docMk/>
            <pc:sldMk cId="2026111613" sldId="259"/>
            <ac:spMk id="12" creationId="{133D7109-55B4-4CC6-9FF8-4BAD3B55D1E2}"/>
          </ac:spMkLst>
        </pc:spChg>
        <pc:grpChg chg="add del mod">
          <ac:chgData name="Yaroslav Zhydyk" userId="feca11449df7c5ed" providerId="LiveId" clId="{DEB4F5E9-665E-474A-A1DA-C825ECC08A2E}" dt="2022-11-12T16:14:20.794" v="34" actId="165"/>
          <ac:grpSpMkLst>
            <pc:docMk/>
            <pc:sldMk cId="2026111613" sldId="259"/>
            <ac:grpSpMk id="10" creationId="{8513E127-41B6-D2E1-B580-1F6CDCCD1B12}"/>
          </ac:grpSpMkLst>
        </pc:grpChg>
        <pc:graphicFrameChg chg="mod">
          <ac:chgData name="Yaroslav Zhydyk" userId="feca11449df7c5ed" providerId="LiveId" clId="{DEB4F5E9-665E-474A-A1DA-C825ECC08A2E}" dt="2022-11-12T16:14:32.878" v="49"/>
          <ac:graphicFrameMkLst>
            <pc:docMk/>
            <pc:sldMk cId="2026111613" sldId="259"/>
            <ac:graphicFrameMk id="4" creationId="{A576AE79-652B-18A8-31D9-28C2BC3EA100}"/>
          </ac:graphicFrameMkLst>
        </pc:graphicFrameChg>
      </pc:sldChg>
      <pc:sldChg chg="delSp modSp add mod">
        <pc:chgData name="Yaroslav Zhydyk" userId="feca11449df7c5ed" providerId="LiveId" clId="{DEB4F5E9-665E-474A-A1DA-C825ECC08A2E}" dt="2022-11-11T15:50:42.933" v="20"/>
        <pc:sldMkLst>
          <pc:docMk/>
          <pc:sldMk cId="980141862" sldId="261"/>
        </pc:sldMkLst>
        <pc:spChg chg="mod">
          <ac:chgData name="Yaroslav Zhydyk" userId="feca11449df7c5ed" providerId="LiveId" clId="{DEB4F5E9-665E-474A-A1DA-C825ECC08A2E}" dt="2022-11-11T15:50:34.396" v="16" actId="20577"/>
          <ac:spMkLst>
            <pc:docMk/>
            <pc:sldMk cId="980141862" sldId="261"/>
            <ac:spMk id="2" creationId="{68D5F1BF-947A-0F44-F59A-88E76FEA875F}"/>
          </ac:spMkLst>
        </pc:spChg>
        <pc:spChg chg="mod">
          <ac:chgData name="Yaroslav Zhydyk" userId="feca11449df7c5ed" providerId="LiveId" clId="{DEB4F5E9-665E-474A-A1DA-C825ECC08A2E}" dt="2022-11-11T15:50:42.933" v="20"/>
          <ac:spMkLst>
            <pc:docMk/>
            <pc:sldMk cId="980141862" sldId="261"/>
            <ac:spMk id="5" creationId="{D366CD11-E393-D3E5-DB17-3B9C346CEB77}"/>
          </ac:spMkLst>
        </pc:spChg>
        <pc:spChg chg="mod">
          <ac:chgData name="Yaroslav Zhydyk" userId="feca11449df7c5ed" providerId="LiveId" clId="{DEB4F5E9-665E-474A-A1DA-C825ECC08A2E}" dt="2022-11-11T15:50:21.911" v="10" actId="20577"/>
          <ac:spMkLst>
            <pc:docMk/>
            <pc:sldMk cId="980141862" sldId="261"/>
            <ac:spMk id="6" creationId="{5FE7DACE-6813-BF9B-659A-4293B74087FE}"/>
          </ac:spMkLst>
        </pc:spChg>
        <pc:spChg chg="mod">
          <ac:chgData name="Yaroslav Zhydyk" userId="feca11449df7c5ed" providerId="LiveId" clId="{DEB4F5E9-665E-474A-A1DA-C825ECC08A2E}" dt="2022-11-11T15:50:38.712" v="18"/>
          <ac:spMkLst>
            <pc:docMk/>
            <pc:sldMk cId="980141862" sldId="261"/>
            <ac:spMk id="7" creationId="{5AFFE72B-B4B5-0580-154F-C04392A07F3D}"/>
          </ac:spMkLst>
        </pc:spChg>
        <pc:spChg chg="del">
          <ac:chgData name="Yaroslav Zhydyk" userId="feca11449df7c5ed" providerId="LiveId" clId="{DEB4F5E9-665E-474A-A1DA-C825ECC08A2E}" dt="2022-11-11T15:50:11.894" v="6" actId="478"/>
          <ac:spMkLst>
            <pc:docMk/>
            <pc:sldMk cId="980141862" sldId="261"/>
            <ac:spMk id="9" creationId="{D3A82A5F-CA17-2B7C-F634-E59E1BF90B0E}"/>
          </ac:spMkLst>
        </pc:spChg>
        <pc:spChg chg="mod">
          <ac:chgData name="Yaroslav Zhydyk" userId="feca11449df7c5ed" providerId="LiveId" clId="{DEB4F5E9-665E-474A-A1DA-C825ECC08A2E}" dt="2022-11-11T15:50:19.720" v="8" actId="408"/>
          <ac:spMkLst>
            <pc:docMk/>
            <pc:sldMk cId="980141862" sldId="261"/>
            <ac:spMk id="12" creationId="{990FB24F-163A-4FA8-0EA2-320C39A2A8C6}"/>
          </ac:spMkLst>
        </pc:spChg>
        <pc:spChg chg="mod">
          <ac:chgData name="Yaroslav Zhydyk" userId="feca11449df7c5ed" providerId="LiveId" clId="{DEB4F5E9-665E-474A-A1DA-C825ECC08A2E}" dt="2022-11-11T15:50:19.720" v="8" actId="408"/>
          <ac:spMkLst>
            <pc:docMk/>
            <pc:sldMk cId="980141862" sldId="261"/>
            <ac:spMk id="13" creationId="{CA70F889-CBA8-64C9-3A37-80280E176B9C}"/>
          </ac:spMkLst>
        </pc:spChg>
        <pc:spChg chg="mod">
          <ac:chgData name="Yaroslav Zhydyk" userId="feca11449df7c5ed" providerId="LiveId" clId="{DEB4F5E9-665E-474A-A1DA-C825ECC08A2E}" dt="2022-11-11T15:50:19.720" v="8" actId="408"/>
          <ac:spMkLst>
            <pc:docMk/>
            <pc:sldMk cId="980141862" sldId="261"/>
            <ac:spMk id="14" creationId="{84E970ED-448F-42E6-D4D7-523B3D6E3E35}"/>
          </ac:spMkLst>
        </pc:spChg>
      </pc:sldChg>
      <pc:sldChg chg="add">
        <pc:chgData name="Yaroslav Zhydyk" userId="feca11449df7c5ed" providerId="LiveId" clId="{DEB4F5E9-665E-474A-A1DA-C825ECC08A2E}" dt="2022-11-11T15:43:04" v="1"/>
        <pc:sldMkLst>
          <pc:docMk/>
          <pc:sldMk cId="3697585423" sldId="262"/>
        </pc:sldMkLst>
      </pc:sldChg>
      <pc:sldChg chg="add">
        <pc:chgData name="Yaroslav Zhydyk" userId="feca11449df7c5ed" providerId="LiveId" clId="{DEB4F5E9-665E-474A-A1DA-C825ECC08A2E}" dt="2022-11-11T15:43:04" v="1"/>
        <pc:sldMkLst>
          <pc:docMk/>
          <pc:sldMk cId="1459978241" sldId="263"/>
        </pc:sldMkLst>
      </pc:sldChg>
      <pc:sldChg chg="add">
        <pc:chgData name="Yaroslav Zhydyk" userId="feca11449df7c5ed" providerId="LiveId" clId="{DEB4F5E9-665E-474A-A1DA-C825ECC08A2E}" dt="2022-11-11T15:43:04" v="1"/>
        <pc:sldMkLst>
          <pc:docMk/>
          <pc:sldMk cId="4281346370" sldId="264"/>
        </pc:sldMkLst>
      </pc:sldChg>
      <pc:sldChg chg="add">
        <pc:chgData name="Yaroslav Zhydyk" userId="feca11449df7c5ed" providerId="LiveId" clId="{DEB4F5E9-665E-474A-A1DA-C825ECC08A2E}" dt="2022-11-11T15:43:04" v="1"/>
        <pc:sldMkLst>
          <pc:docMk/>
          <pc:sldMk cId="2054141819" sldId="265"/>
        </pc:sldMkLst>
      </pc:sldChg>
      <pc:sldChg chg="add">
        <pc:chgData name="Yaroslav Zhydyk" userId="feca11449df7c5ed" providerId="LiveId" clId="{DEB4F5E9-665E-474A-A1DA-C825ECC08A2E}" dt="2022-11-11T15:43:04" v="1"/>
        <pc:sldMkLst>
          <pc:docMk/>
          <pc:sldMk cId="4239559072" sldId="266"/>
        </pc:sldMkLst>
      </pc:sldChg>
      <pc:sldChg chg="add">
        <pc:chgData name="Yaroslav Zhydyk" userId="feca11449df7c5ed" providerId="LiveId" clId="{DEB4F5E9-665E-474A-A1DA-C825ECC08A2E}" dt="2022-11-11T15:43:04" v="1"/>
        <pc:sldMkLst>
          <pc:docMk/>
          <pc:sldMk cId="2123818777" sldId="267"/>
        </pc:sldMkLst>
      </pc:sldChg>
      <pc:sldChg chg="add">
        <pc:chgData name="Yaroslav Zhydyk" userId="feca11449df7c5ed" providerId="LiveId" clId="{DEB4F5E9-665E-474A-A1DA-C825ECC08A2E}" dt="2022-11-11T15:43:04" v="1"/>
        <pc:sldMkLst>
          <pc:docMk/>
          <pc:sldMk cId="3660149555" sldId="268"/>
        </pc:sldMkLst>
      </pc:sldChg>
      <pc:sldChg chg="addSp modSp add mod">
        <pc:chgData name="Yaroslav Zhydyk" userId="feca11449df7c5ed" providerId="LiveId" clId="{DEB4F5E9-665E-474A-A1DA-C825ECC08A2E}" dt="2022-11-12T16:17:55.906" v="145" actId="207"/>
        <pc:sldMkLst>
          <pc:docMk/>
          <pc:sldMk cId="53468291" sldId="269"/>
        </pc:sldMkLst>
        <pc:spChg chg="add mod">
          <ac:chgData name="Yaroslav Zhydyk" userId="feca11449df7c5ed" providerId="LiveId" clId="{DEB4F5E9-665E-474A-A1DA-C825ECC08A2E}" dt="2022-11-12T16:17:43.246" v="139" actId="1076"/>
          <ac:spMkLst>
            <pc:docMk/>
            <pc:sldMk cId="53468291" sldId="269"/>
            <ac:spMk id="2" creationId="{AF36A0F7-B3C8-1651-F1E7-5CE368CB3AF6}"/>
          </ac:spMkLst>
        </pc:spChg>
        <pc:spChg chg="add mod">
          <ac:chgData name="Yaroslav Zhydyk" userId="feca11449df7c5ed" providerId="LiveId" clId="{DEB4F5E9-665E-474A-A1DA-C825ECC08A2E}" dt="2022-11-12T16:17:55.906" v="145" actId="207"/>
          <ac:spMkLst>
            <pc:docMk/>
            <pc:sldMk cId="53468291" sldId="269"/>
            <ac:spMk id="3" creationId="{F60EB1D9-4795-08DA-93AC-48B23EDBC9FB}"/>
          </ac:spMkLst>
        </pc:spChg>
        <pc:spChg chg="mod">
          <ac:chgData name="Yaroslav Zhydyk" userId="feca11449df7c5ed" providerId="LiveId" clId="{DEB4F5E9-665E-474A-A1DA-C825ECC08A2E}" dt="2022-11-12T16:17:30.794" v="137" actId="20577"/>
          <ac:spMkLst>
            <pc:docMk/>
            <pc:sldMk cId="53468291" sldId="269"/>
            <ac:spMk id="5" creationId="{805F823C-4B4D-4EC8-15D7-D1C57874B9C0}"/>
          </ac:spMkLst>
        </pc:spChg>
        <pc:spChg chg="add mod">
          <ac:chgData name="Yaroslav Zhydyk" userId="feca11449df7c5ed" providerId="LiveId" clId="{DEB4F5E9-665E-474A-A1DA-C825ECC08A2E}" dt="2022-11-12T16:17:55.906" v="145" actId="207"/>
          <ac:spMkLst>
            <pc:docMk/>
            <pc:sldMk cId="53468291" sldId="269"/>
            <ac:spMk id="6" creationId="{E055010D-E3EB-F4EB-D3F7-3B7B2C4385DA}"/>
          </ac:spMkLst>
        </pc:spChg>
        <pc:spChg chg="add mod">
          <ac:chgData name="Yaroslav Zhydyk" userId="feca11449df7c5ed" providerId="LiveId" clId="{DEB4F5E9-665E-474A-A1DA-C825ECC08A2E}" dt="2022-11-12T16:17:55.906" v="145" actId="207"/>
          <ac:spMkLst>
            <pc:docMk/>
            <pc:sldMk cId="53468291" sldId="269"/>
            <ac:spMk id="7" creationId="{8D55F46C-6B1F-51D6-4E14-2C857BECE1A1}"/>
          </ac:spMkLst>
        </pc:spChg>
        <pc:spChg chg="add mod">
          <ac:chgData name="Yaroslav Zhydyk" userId="feca11449df7c5ed" providerId="LiveId" clId="{DEB4F5E9-665E-474A-A1DA-C825ECC08A2E}" dt="2022-11-12T16:17:43.246" v="139" actId="1076"/>
          <ac:spMkLst>
            <pc:docMk/>
            <pc:sldMk cId="53468291" sldId="269"/>
            <ac:spMk id="8" creationId="{22C1072F-9989-4376-0FD3-D8D2436B36C5}"/>
          </ac:spMkLst>
        </pc:spChg>
        <pc:spChg chg="add mod">
          <ac:chgData name="Yaroslav Zhydyk" userId="feca11449df7c5ed" providerId="LiveId" clId="{DEB4F5E9-665E-474A-A1DA-C825ECC08A2E}" dt="2022-11-12T16:17:43.246" v="139" actId="1076"/>
          <ac:spMkLst>
            <pc:docMk/>
            <pc:sldMk cId="53468291" sldId="269"/>
            <ac:spMk id="9" creationId="{1525BFBD-EB66-1207-D306-FF4935A97AC6}"/>
          </ac:spMkLst>
        </pc:spChg>
      </pc:sldChg>
      <pc:sldChg chg="add del ord">
        <pc:chgData name="Yaroslav Zhydyk" userId="feca11449df7c5ed" providerId="LiveId" clId="{DEB4F5E9-665E-474A-A1DA-C825ECC08A2E}" dt="2022-11-12T17:02:51.955" v="931" actId="47"/>
        <pc:sldMkLst>
          <pc:docMk/>
          <pc:sldMk cId="2440313229" sldId="270"/>
        </pc:sldMkLst>
      </pc:sldChg>
      <pc:sldChg chg="add del ord">
        <pc:chgData name="Yaroslav Zhydyk" userId="feca11449df7c5ed" providerId="LiveId" clId="{DEB4F5E9-665E-474A-A1DA-C825ECC08A2E}" dt="2022-11-12T17:02:51.955" v="931" actId="47"/>
        <pc:sldMkLst>
          <pc:docMk/>
          <pc:sldMk cId="2212018165" sldId="271"/>
        </pc:sldMkLst>
      </pc:sldChg>
      <pc:sldChg chg="add del ord">
        <pc:chgData name="Yaroslav Zhydyk" userId="feca11449df7c5ed" providerId="LiveId" clId="{DEB4F5E9-665E-474A-A1DA-C825ECC08A2E}" dt="2022-11-12T17:02:51.955" v="931" actId="47"/>
        <pc:sldMkLst>
          <pc:docMk/>
          <pc:sldMk cId="2302708643" sldId="272"/>
        </pc:sldMkLst>
      </pc:sldChg>
      <pc:sldChg chg="add del ord">
        <pc:chgData name="Yaroslav Zhydyk" userId="feca11449df7c5ed" providerId="LiveId" clId="{DEB4F5E9-665E-474A-A1DA-C825ECC08A2E}" dt="2022-11-12T17:02:51.955" v="931" actId="47"/>
        <pc:sldMkLst>
          <pc:docMk/>
          <pc:sldMk cId="3155850426" sldId="273"/>
        </pc:sldMkLst>
      </pc:sldChg>
      <pc:sldChg chg="add del ord">
        <pc:chgData name="Yaroslav Zhydyk" userId="feca11449df7c5ed" providerId="LiveId" clId="{DEB4F5E9-665E-474A-A1DA-C825ECC08A2E}" dt="2022-11-12T17:02:51.955" v="931" actId="47"/>
        <pc:sldMkLst>
          <pc:docMk/>
          <pc:sldMk cId="251062607" sldId="274"/>
        </pc:sldMkLst>
      </pc:sldChg>
      <pc:sldChg chg="add del ord">
        <pc:chgData name="Yaroslav Zhydyk" userId="feca11449df7c5ed" providerId="LiveId" clId="{DEB4F5E9-665E-474A-A1DA-C825ECC08A2E}" dt="2022-11-12T17:02:51.955" v="931" actId="47"/>
        <pc:sldMkLst>
          <pc:docMk/>
          <pc:sldMk cId="3539850750" sldId="275"/>
        </pc:sldMkLst>
      </pc:sldChg>
      <pc:sldChg chg="add">
        <pc:chgData name="Yaroslav Zhydyk" userId="feca11449df7c5ed" providerId="LiveId" clId="{DEB4F5E9-665E-474A-A1DA-C825ECC08A2E}" dt="2022-11-11T15:43:04" v="1"/>
        <pc:sldMkLst>
          <pc:docMk/>
          <pc:sldMk cId="3178536844" sldId="276"/>
        </pc:sldMkLst>
      </pc:sldChg>
      <pc:sldChg chg="add">
        <pc:chgData name="Yaroslav Zhydyk" userId="feca11449df7c5ed" providerId="LiveId" clId="{DEB4F5E9-665E-474A-A1DA-C825ECC08A2E}" dt="2022-11-11T15:43:04" v="1"/>
        <pc:sldMkLst>
          <pc:docMk/>
          <pc:sldMk cId="1542407537" sldId="277"/>
        </pc:sldMkLst>
      </pc:sldChg>
      <pc:sldChg chg="add">
        <pc:chgData name="Yaroslav Zhydyk" userId="feca11449df7c5ed" providerId="LiveId" clId="{DEB4F5E9-665E-474A-A1DA-C825ECC08A2E}" dt="2022-11-11T15:43:04" v="1"/>
        <pc:sldMkLst>
          <pc:docMk/>
          <pc:sldMk cId="2557991748" sldId="278"/>
        </pc:sldMkLst>
      </pc:sldChg>
      <pc:sldChg chg="add del ord">
        <pc:chgData name="Yaroslav Zhydyk" userId="feca11449df7c5ed" providerId="LiveId" clId="{DEB4F5E9-665E-474A-A1DA-C825ECC08A2E}" dt="2022-11-12T17:02:51.955" v="931" actId="47"/>
        <pc:sldMkLst>
          <pc:docMk/>
          <pc:sldMk cId="3377724400" sldId="279"/>
        </pc:sldMkLst>
      </pc:sldChg>
      <pc:sldChg chg="add del ord">
        <pc:chgData name="Yaroslav Zhydyk" userId="feca11449df7c5ed" providerId="LiveId" clId="{DEB4F5E9-665E-474A-A1DA-C825ECC08A2E}" dt="2022-11-12T17:02:51.955" v="931" actId="47"/>
        <pc:sldMkLst>
          <pc:docMk/>
          <pc:sldMk cId="2739368048" sldId="280"/>
        </pc:sldMkLst>
      </pc:sldChg>
      <pc:sldChg chg="add del">
        <pc:chgData name="Yaroslav Zhydyk" userId="feca11449df7c5ed" providerId="LiveId" clId="{DEB4F5E9-665E-474A-A1DA-C825ECC08A2E}" dt="2022-11-12T16:24:30.602" v="261" actId="47"/>
        <pc:sldMkLst>
          <pc:docMk/>
          <pc:sldMk cId="1643801442" sldId="725"/>
        </pc:sldMkLst>
      </pc:sldChg>
      <pc:sldChg chg="addSp modSp add">
        <pc:chgData name="Yaroslav Zhydyk" userId="feca11449df7c5ed" providerId="LiveId" clId="{DEB4F5E9-665E-474A-A1DA-C825ECC08A2E}" dt="2022-11-12T17:02:34.620" v="925"/>
        <pc:sldMkLst>
          <pc:docMk/>
          <pc:sldMk cId="4253667097" sldId="774"/>
        </pc:sldMkLst>
        <pc:spChg chg="add mod">
          <ac:chgData name="Yaroslav Zhydyk" userId="feca11449df7c5ed" providerId="LiveId" clId="{DEB4F5E9-665E-474A-A1DA-C825ECC08A2E}" dt="2022-11-12T17:02:34.620" v="925"/>
          <ac:spMkLst>
            <pc:docMk/>
            <pc:sldMk cId="4253667097" sldId="774"/>
            <ac:spMk id="2" creationId="{4B8317FC-260E-13D6-F298-72D2B110560F}"/>
          </ac:spMkLst>
        </pc:spChg>
      </pc:sldChg>
      <pc:sldChg chg="add">
        <pc:chgData name="Yaroslav Zhydyk" userId="feca11449df7c5ed" providerId="LiveId" clId="{DEB4F5E9-665E-474A-A1DA-C825ECC08A2E}" dt="2022-11-11T15:46:31.077" v="4"/>
        <pc:sldMkLst>
          <pc:docMk/>
          <pc:sldMk cId="3575006961" sldId="789"/>
        </pc:sldMkLst>
      </pc:sldChg>
      <pc:sldChg chg="add">
        <pc:chgData name="Yaroslav Zhydyk" userId="feca11449df7c5ed" providerId="LiveId" clId="{DEB4F5E9-665E-474A-A1DA-C825ECC08A2E}" dt="2022-11-11T15:46:31.077" v="4"/>
        <pc:sldMkLst>
          <pc:docMk/>
          <pc:sldMk cId="2646265589" sldId="791"/>
        </pc:sldMkLst>
      </pc:sldChg>
      <pc:sldChg chg="add">
        <pc:chgData name="Yaroslav Zhydyk" userId="feca11449df7c5ed" providerId="LiveId" clId="{DEB4F5E9-665E-474A-A1DA-C825ECC08A2E}" dt="2022-11-11T15:46:31.077" v="4"/>
        <pc:sldMkLst>
          <pc:docMk/>
          <pc:sldMk cId="3407386681" sldId="792"/>
        </pc:sldMkLst>
      </pc:sldChg>
      <pc:sldChg chg="add">
        <pc:chgData name="Yaroslav Zhydyk" userId="feca11449df7c5ed" providerId="LiveId" clId="{DEB4F5E9-665E-474A-A1DA-C825ECC08A2E}" dt="2022-11-11T15:46:31.077" v="4"/>
        <pc:sldMkLst>
          <pc:docMk/>
          <pc:sldMk cId="2248722224" sldId="793"/>
        </pc:sldMkLst>
      </pc:sldChg>
      <pc:sldChg chg="add">
        <pc:chgData name="Yaroslav Zhydyk" userId="feca11449df7c5ed" providerId="LiveId" clId="{DEB4F5E9-665E-474A-A1DA-C825ECC08A2E}" dt="2022-11-11T15:46:31.077" v="4"/>
        <pc:sldMkLst>
          <pc:docMk/>
          <pc:sldMk cId="1270975440" sldId="798"/>
        </pc:sldMkLst>
      </pc:sldChg>
      <pc:sldChg chg="add">
        <pc:chgData name="Yaroslav Zhydyk" userId="feca11449df7c5ed" providerId="LiveId" clId="{DEB4F5E9-665E-474A-A1DA-C825ECC08A2E}" dt="2022-11-11T15:46:31.077" v="4"/>
        <pc:sldMkLst>
          <pc:docMk/>
          <pc:sldMk cId="2091088988" sldId="799"/>
        </pc:sldMkLst>
      </pc:sldChg>
      <pc:sldChg chg="add del">
        <pc:chgData name="Yaroslav Zhydyk" userId="feca11449df7c5ed" providerId="LiveId" clId="{DEB4F5E9-665E-474A-A1DA-C825ECC08A2E}" dt="2022-11-12T16:35:27.130" v="447" actId="47"/>
        <pc:sldMkLst>
          <pc:docMk/>
          <pc:sldMk cId="3057965583" sldId="829"/>
        </pc:sldMkLst>
      </pc:sldChg>
      <pc:sldChg chg="add del">
        <pc:chgData name="Yaroslav Zhydyk" userId="feca11449df7c5ed" providerId="LiveId" clId="{DEB4F5E9-665E-474A-A1DA-C825ECC08A2E}" dt="2022-11-12T16:17:58.962" v="146" actId="47"/>
        <pc:sldMkLst>
          <pc:docMk/>
          <pc:sldMk cId="1314757964" sldId="838"/>
        </pc:sldMkLst>
      </pc:sldChg>
      <pc:sldChg chg="add del">
        <pc:chgData name="Yaroslav Zhydyk" userId="feca11449df7c5ed" providerId="LiveId" clId="{DEB4F5E9-665E-474A-A1DA-C825ECC08A2E}" dt="2022-11-12T18:33:53.860" v="962" actId="47"/>
        <pc:sldMkLst>
          <pc:docMk/>
          <pc:sldMk cId="2605292091" sldId="844"/>
        </pc:sldMkLst>
      </pc:sldChg>
      <pc:sldChg chg="addSp modSp add mod">
        <pc:chgData name="Yaroslav Zhydyk" userId="feca11449df7c5ed" providerId="LiveId" clId="{DEB4F5E9-665E-474A-A1DA-C825ECC08A2E}" dt="2022-11-12T16:32:01.864" v="343"/>
        <pc:sldMkLst>
          <pc:docMk/>
          <pc:sldMk cId="121093415" sldId="847"/>
        </pc:sldMkLst>
        <pc:spChg chg="add mod">
          <ac:chgData name="Yaroslav Zhydyk" userId="feca11449df7c5ed" providerId="LiveId" clId="{DEB4F5E9-665E-474A-A1DA-C825ECC08A2E}" dt="2022-11-12T16:32:01.864" v="343"/>
          <ac:spMkLst>
            <pc:docMk/>
            <pc:sldMk cId="121093415" sldId="847"/>
            <ac:spMk id="2" creationId="{353F8ACF-C69F-0D4C-74A5-DA7AFC19ABB9}"/>
          </ac:spMkLst>
        </pc:spChg>
        <pc:spChg chg="mod">
          <ac:chgData name="Yaroslav Zhydyk" userId="feca11449df7c5ed" providerId="LiveId" clId="{DEB4F5E9-665E-474A-A1DA-C825ECC08A2E}" dt="2022-11-12T16:18:35.076" v="152" actId="207"/>
          <ac:spMkLst>
            <pc:docMk/>
            <pc:sldMk cId="121093415" sldId="847"/>
            <ac:spMk id="9" creationId="{9D3915C6-EFE7-446E-8F11-48C9B3E7D078}"/>
          </ac:spMkLst>
        </pc:spChg>
        <pc:spChg chg="mod">
          <ac:chgData name="Yaroslav Zhydyk" userId="feca11449df7c5ed" providerId="LiveId" clId="{DEB4F5E9-665E-474A-A1DA-C825ECC08A2E}" dt="2022-11-12T16:18:17.144" v="150" actId="207"/>
          <ac:spMkLst>
            <pc:docMk/>
            <pc:sldMk cId="121093415" sldId="847"/>
            <ac:spMk id="16" creationId="{9BA7C097-2934-4427-B2FB-51C37577F4EC}"/>
          </ac:spMkLst>
        </pc:spChg>
      </pc:sldChg>
      <pc:sldChg chg="addSp modSp add mod">
        <pc:chgData name="Yaroslav Zhydyk" userId="feca11449df7c5ed" providerId="LiveId" clId="{DEB4F5E9-665E-474A-A1DA-C825ECC08A2E}" dt="2022-11-12T16:32:07.655" v="346"/>
        <pc:sldMkLst>
          <pc:docMk/>
          <pc:sldMk cId="4058150060" sldId="852"/>
        </pc:sldMkLst>
        <pc:spChg chg="add mod">
          <ac:chgData name="Yaroslav Zhydyk" userId="feca11449df7c5ed" providerId="LiveId" clId="{DEB4F5E9-665E-474A-A1DA-C825ECC08A2E}" dt="2022-11-12T16:32:07.655" v="346"/>
          <ac:spMkLst>
            <pc:docMk/>
            <pc:sldMk cId="4058150060" sldId="852"/>
            <ac:spMk id="2" creationId="{BDC58488-EDA5-6947-068B-A3C272479570}"/>
          </ac:spMkLst>
        </pc:spChg>
        <pc:spChg chg="mod">
          <ac:chgData name="Yaroslav Zhydyk" userId="feca11449df7c5ed" providerId="LiveId" clId="{DEB4F5E9-665E-474A-A1DA-C825ECC08A2E}" dt="2022-11-12T16:22:00.527" v="228" actId="207"/>
          <ac:spMkLst>
            <pc:docMk/>
            <pc:sldMk cId="4058150060" sldId="852"/>
            <ac:spMk id="12" creationId="{F0B9EFCC-D89D-4BE2-921E-09B342582B73}"/>
          </ac:spMkLst>
        </pc:spChg>
      </pc:sldChg>
      <pc:sldChg chg="addSp modSp add mod">
        <pc:chgData name="Yaroslav Zhydyk" userId="feca11449df7c5ed" providerId="LiveId" clId="{DEB4F5E9-665E-474A-A1DA-C825ECC08A2E}" dt="2022-11-12T16:32:03.875" v="344"/>
        <pc:sldMkLst>
          <pc:docMk/>
          <pc:sldMk cId="594705581" sldId="854"/>
        </pc:sldMkLst>
        <pc:spChg chg="add mod">
          <ac:chgData name="Yaroslav Zhydyk" userId="feca11449df7c5ed" providerId="LiveId" clId="{DEB4F5E9-665E-474A-A1DA-C825ECC08A2E}" dt="2022-11-12T16:32:03.875" v="344"/>
          <ac:spMkLst>
            <pc:docMk/>
            <pc:sldMk cId="594705581" sldId="854"/>
            <ac:spMk id="2" creationId="{998B7EDF-2956-B5A7-0958-D7CF14D6AD0E}"/>
          </ac:spMkLst>
        </pc:spChg>
        <pc:spChg chg="mod">
          <ac:chgData name="Yaroslav Zhydyk" userId="feca11449df7c5ed" providerId="LiveId" clId="{DEB4F5E9-665E-474A-A1DA-C825ECC08A2E}" dt="2022-11-12T16:18:27.434" v="151" actId="207"/>
          <ac:spMkLst>
            <pc:docMk/>
            <pc:sldMk cId="594705581" sldId="854"/>
            <ac:spMk id="9" creationId="{82A9F24E-A687-435E-83AE-C58DB4B06173}"/>
          </ac:spMkLst>
        </pc:spChg>
        <pc:spChg chg="mod">
          <ac:chgData name="Yaroslav Zhydyk" userId="feca11449df7c5ed" providerId="LiveId" clId="{DEB4F5E9-665E-474A-A1DA-C825ECC08A2E}" dt="2022-11-12T16:18:52.276" v="157" actId="207"/>
          <ac:spMkLst>
            <pc:docMk/>
            <pc:sldMk cId="594705581" sldId="854"/>
            <ac:spMk id="11" creationId="{A358CE5E-BAE4-4D91-BB85-FEA2A75B9B65}"/>
          </ac:spMkLst>
        </pc:spChg>
      </pc:sldChg>
      <pc:sldChg chg="delSp add mod">
        <pc:chgData name="Yaroslav Zhydyk" userId="feca11449df7c5ed" providerId="LiveId" clId="{DEB4F5E9-665E-474A-A1DA-C825ECC08A2E}" dt="2022-11-12T18:34:04.381" v="965" actId="478"/>
        <pc:sldMkLst>
          <pc:docMk/>
          <pc:sldMk cId="888683082" sldId="859"/>
        </pc:sldMkLst>
        <pc:spChg chg="del">
          <ac:chgData name="Yaroslav Zhydyk" userId="feca11449df7c5ed" providerId="LiveId" clId="{DEB4F5E9-665E-474A-A1DA-C825ECC08A2E}" dt="2022-11-12T18:34:04.381" v="965" actId="478"/>
          <ac:spMkLst>
            <pc:docMk/>
            <pc:sldMk cId="888683082" sldId="859"/>
            <ac:spMk id="5" creationId="{7499F93E-8ACD-425E-8727-032BE4C5DB6F}"/>
          </ac:spMkLst>
        </pc:spChg>
      </pc:sldChg>
      <pc:sldChg chg="delSp add mod">
        <pc:chgData name="Yaroslav Zhydyk" userId="feca11449df7c5ed" providerId="LiveId" clId="{DEB4F5E9-665E-474A-A1DA-C825ECC08A2E}" dt="2022-11-12T18:34:10.744" v="967" actId="478"/>
        <pc:sldMkLst>
          <pc:docMk/>
          <pc:sldMk cId="2118510306" sldId="860"/>
        </pc:sldMkLst>
        <pc:spChg chg="del">
          <ac:chgData name="Yaroslav Zhydyk" userId="feca11449df7c5ed" providerId="LiveId" clId="{DEB4F5E9-665E-474A-A1DA-C825ECC08A2E}" dt="2022-11-12T18:34:10.744" v="967" actId="478"/>
          <ac:spMkLst>
            <pc:docMk/>
            <pc:sldMk cId="2118510306" sldId="860"/>
            <ac:spMk id="6" creationId="{D0D6A7AC-1CC8-4535-9317-12B8DA37D458}"/>
          </ac:spMkLst>
        </pc:spChg>
      </pc:sldChg>
      <pc:sldChg chg="delSp add mod">
        <pc:chgData name="Yaroslav Zhydyk" userId="feca11449df7c5ed" providerId="LiveId" clId="{DEB4F5E9-665E-474A-A1DA-C825ECC08A2E}" dt="2022-11-12T18:34:18.436" v="969" actId="478"/>
        <pc:sldMkLst>
          <pc:docMk/>
          <pc:sldMk cId="655530495" sldId="862"/>
        </pc:sldMkLst>
        <pc:spChg chg="del">
          <ac:chgData name="Yaroslav Zhydyk" userId="feca11449df7c5ed" providerId="LiveId" clId="{DEB4F5E9-665E-474A-A1DA-C825ECC08A2E}" dt="2022-11-12T18:34:18.436" v="969" actId="478"/>
          <ac:spMkLst>
            <pc:docMk/>
            <pc:sldMk cId="655530495" sldId="862"/>
            <ac:spMk id="5" creationId="{566C8B2D-F78D-449A-9F10-E7C40969AF33}"/>
          </ac:spMkLst>
        </pc:spChg>
      </pc:sldChg>
      <pc:sldChg chg="delSp add mod setBg">
        <pc:chgData name="Yaroslav Zhydyk" userId="feca11449df7c5ed" providerId="LiveId" clId="{DEB4F5E9-665E-474A-A1DA-C825ECC08A2E}" dt="2022-11-12T18:34:14.259" v="968" actId="478"/>
        <pc:sldMkLst>
          <pc:docMk/>
          <pc:sldMk cId="1765649993" sldId="863"/>
        </pc:sldMkLst>
        <pc:spChg chg="del">
          <ac:chgData name="Yaroslav Zhydyk" userId="feca11449df7c5ed" providerId="LiveId" clId="{DEB4F5E9-665E-474A-A1DA-C825ECC08A2E}" dt="2022-11-12T18:34:14.259" v="968" actId="478"/>
          <ac:spMkLst>
            <pc:docMk/>
            <pc:sldMk cId="1765649993" sldId="863"/>
            <ac:spMk id="4" creationId="{23E6BD01-7718-446F-ADB0-A4BF90AC6F05}"/>
          </ac:spMkLst>
        </pc:spChg>
      </pc:sldChg>
      <pc:sldChg chg="delSp add del mod">
        <pc:chgData name="Yaroslav Zhydyk" userId="feca11449df7c5ed" providerId="LiveId" clId="{DEB4F5E9-665E-474A-A1DA-C825ECC08A2E}" dt="2022-11-12T16:53:04.036" v="746" actId="47"/>
        <pc:sldMkLst>
          <pc:docMk/>
          <pc:sldMk cId="2284921848" sldId="867"/>
        </pc:sldMkLst>
        <pc:spChg chg="del">
          <ac:chgData name="Yaroslav Zhydyk" userId="feca11449df7c5ed" providerId="LiveId" clId="{DEB4F5E9-665E-474A-A1DA-C825ECC08A2E}" dt="2022-11-12T16:52:35" v="738" actId="21"/>
          <ac:spMkLst>
            <pc:docMk/>
            <pc:sldMk cId="2284921848" sldId="867"/>
            <ac:spMk id="35" creationId="{7A62605F-A36D-4CF0-BF48-E9C0163EAB71}"/>
          </ac:spMkLst>
        </pc:spChg>
        <pc:spChg chg="del">
          <ac:chgData name="Yaroslav Zhydyk" userId="feca11449df7c5ed" providerId="LiveId" clId="{DEB4F5E9-665E-474A-A1DA-C825ECC08A2E}" dt="2022-11-12T16:52:35" v="738" actId="21"/>
          <ac:spMkLst>
            <pc:docMk/>
            <pc:sldMk cId="2284921848" sldId="867"/>
            <ac:spMk id="36" creationId="{1AC1100A-8DEE-4C98-8204-9BBC159D38C2}"/>
          </ac:spMkLst>
        </pc:spChg>
        <pc:spChg chg="del">
          <ac:chgData name="Yaroslav Zhydyk" userId="feca11449df7c5ed" providerId="LiveId" clId="{DEB4F5E9-665E-474A-A1DA-C825ECC08A2E}" dt="2022-11-12T16:52:35" v="738" actId="21"/>
          <ac:spMkLst>
            <pc:docMk/>
            <pc:sldMk cId="2284921848" sldId="867"/>
            <ac:spMk id="37" creationId="{890F2545-7B78-4AB0-A86A-10E146AEA6AD}"/>
          </ac:spMkLst>
        </pc:spChg>
        <pc:spChg chg="del">
          <ac:chgData name="Yaroslav Zhydyk" userId="feca11449df7c5ed" providerId="LiveId" clId="{DEB4F5E9-665E-474A-A1DA-C825ECC08A2E}" dt="2022-11-12T16:52:35" v="738" actId="21"/>
          <ac:spMkLst>
            <pc:docMk/>
            <pc:sldMk cId="2284921848" sldId="867"/>
            <ac:spMk id="38" creationId="{B003A376-1D7B-4B0E-8CE7-1537BEE871D5}"/>
          </ac:spMkLst>
        </pc:spChg>
        <pc:spChg chg="del">
          <ac:chgData name="Yaroslav Zhydyk" userId="feca11449df7c5ed" providerId="LiveId" clId="{DEB4F5E9-665E-474A-A1DA-C825ECC08A2E}" dt="2022-11-12T16:52:35" v="738" actId="21"/>
          <ac:spMkLst>
            <pc:docMk/>
            <pc:sldMk cId="2284921848" sldId="867"/>
            <ac:spMk id="39" creationId="{8F88532D-3579-418F-9F94-EE09A46435C4}"/>
          </ac:spMkLst>
        </pc:spChg>
        <pc:spChg chg="del">
          <ac:chgData name="Yaroslav Zhydyk" userId="feca11449df7c5ed" providerId="LiveId" clId="{DEB4F5E9-665E-474A-A1DA-C825ECC08A2E}" dt="2022-11-12T16:52:35" v="738" actId="21"/>
          <ac:spMkLst>
            <pc:docMk/>
            <pc:sldMk cId="2284921848" sldId="867"/>
            <ac:spMk id="40" creationId="{50A679FF-5A99-450A-A74A-11DF7B7ECF02}"/>
          </ac:spMkLst>
        </pc:spChg>
        <pc:spChg chg="del">
          <ac:chgData name="Yaroslav Zhydyk" userId="feca11449df7c5ed" providerId="LiveId" clId="{DEB4F5E9-665E-474A-A1DA-C825ECC08A2E}" dt="2022-11-12T16:52:35" v="738" actId="21"/>
          <ac:spMkLst>
            <pc:docMk/>
            <pc:sldMk cId="2284921848" sldId="867"/>
            <ac:spMk id="42" creationId="{629826B8-A52F-457C-9A6D-375BD0F37FAE}"/>
          </ac:spMkLst>
        </pc:spChg>
        <pc:spChg chg="del">
          <ac:chgData name="Yaroslav Zhydyk" userId="feca11449df7c5ed" providerId="LiveId" clId="{DEB4F5E9-665E-474A-A1DA-C825ECC08A2E}" dt="2022-11-12T16:52:35" v="738" actId="21"/>
          <ac:spMkLst>
            <pc:docMk/>
            <pc:sldMk cId="2284921848" sldId="867"/>
            <ac:spMk id="43" creationId="{10724EC1-DA63-4204-826C-02AFFDBFD7F1}"/>
          </ac:spMkLst>
        </pc:spChg>
      </pc:sldChg>
      <pc:sldChg chg="delSp add mod">
        <pc:chgData name="Yaroslav Zhydyk" userId="feca11449df7c5ed" providerId="LiveId" clId="{DEB4F5E9-665E-474A-A1DA-C825ECC08A2E}" dt="2022-11-12T18:34:01.531" v="964" actId="478"/>
        <pc:sldMkLst>
          <pc:docMk/>
          <pc:sldMk cId="381231862" sldId="869"/>
        </pc:sldMkLst>
        <pc:spChg chg="del">
          <ac:chgData name="Yaroslav Zhydyk" userId="feca11449df7c5ed" providerId="LiveId" clId="{DEB4F5E9-665E-474A-A1DA-C825ECC08A2E}" dt="2022-11-12T18:34:01.531" v="964" actId="478"/>
          <ac:spMkLst>
            <pc:docMk/>
            <pc:sldMk cId="381231862" sldId="869"/>
            <ac:spMk id="4" creationId="{205FC5DA-9FA6-4347-86AB-9F8CDD0C9078}"/>
          </ac:spMkLst>
        </pc:spChg>
      </pc:sldChg>
      <pc:sldChg chg="add del">
        <pc:chgData name="Yaroslav Zhydyk" userId="feca11449df7c5ed" providerId="LiveId" clId="{DEB4F5E9-665E-474A-A1DA-C825ECC08A2E}" dt="2022-11-12T16:57:36.257" v="853" actId="47"/>
        <pc:sldMkLst>
          <pc:docMk/>
          <pc:sldMk cId="3220451265" sldId="871"/>
        </pc:sldMkLst>
      </pc:sldChg>
      <pc:sldChg chg="addSp modSp add del">
        <pc:chgData name="Yaroslav Zhydyk" userId="feca11449df7c5ed" providerId="LiveId" clId="{DEB4F5E9-665E-474A-A1DA-C825ECC08A2E}" dt="2022-11-12T16:21:51.890" v="226" actId="47"/>
        <pc:sldMkLst>
          <pc:docMk/>
          <pc:sldMk cId="1452547378" sldId="873"/>
        </pc:sldMkLst>
        <pc:spChg chg="mod">
          <ac:chgData name="Yaroslav Zhydyk" userId="feca11449df7c5ed" providerId="LiveId" clId="{DEB4F5E9-665E-474A-A1DA-C825ECC08A2E}" dt="2022-11-12T16:20:39.918" v="204" actId="164"/>
          <ac:spMkLst>
            <pc:docMk/>
            <pc:sldMk cId="1452547378" sldId="873"/>
            <ac:spMk id="27" creationId="{18B6FC38-8EED-457B-A4C7-78492575168F}"/>
          </ac:spMkLst>
        </pc:spChg>
        <pc:spChg chg="mod">
          <ac:chgData name="Yaroslav Zhydyk" userId="feca11449df7c5ed" providerId="LiveId" clId="{DEB4F5E9-665E-474A-A1DA-C825ECC08A2E}" dt="2022-11-12T16:20:39.918" v="204" actId="164"/>
          <ac:spMkLst>
            <pc:docMk/>
            <pc:sldMk cId="1452547378" sldId="873"/>
            <ac:spMk id="28" creationId="{A7495785-BB4D-44F1-8F04-226979AFEE95}"/>
          </ac:spMkLst>
        </pc:spChg>
        <pc:spChg chg="mod">
          <ac:chgData name="Yaroslav Zhydyk" userId="feca11449df7c5ed" providerId="LiveId" clId="{DEB4F5E9-665E-474A-A1DA-C825ECC08A2E}" dt="2022-11-12T16:20:39.918" v="204" actId="164"/>
          <ac:spMkLst>
            <pc:docMk/>
            <pc:sldMk cId="1452547378" sldId="873"/>
            <ac:spMk id="30" creationId="{5BBE5F8A-DE90-4C50-8EDD-6E0BFD40E4DE}"/>
          </ac:spMkLst>
        </pc:spChg>
        <pc:spChg chg="mod">
          <ac:chgData name="Yaroslav Zhydyk" userId="feca11449df7c5ed" providerId="LiveId" clId="{DEB4F5E9-665E-474A-A1DA-C825ECC08A2E}" dt="2022-11-12T16:20:39.918" v="204" actId="164"/>
          <ac:spMkLst>
            <pc:docMk/>
            <pc:sldMk cId="1452547378" sldId="873"/>
            <ac:spMk id="31" creationId="{FCE0B516-67B2-4562-9E9C-EA490788AB97}"/>
          </ac:spMkLst>
        </pc:spChg>
        <pc:spChg chg="mod">
          <ac:chgData name="Yaroslav Zhydyk" userId="feca11449df7c5ed" providerId="LiveId" clId="{DEB4F5E9-665E-474A-A1DA-C825ECC08A2E}" dt="2022-11-12T16:20:39.918" v="204" actId="164"/>
          <ac:spMkLst>
            <pc:docMk/>
            <pc:sldMk cId="1452547378" sldId="873"/>
            <ac:spMk id="32" creationId="{E1FD5FB4-58F4-4E48-A20F-DB097DD20892}"/>
          </ac:spMkLst>
        </pc:spChg>
        <pc:spChg chg="mod">
          <ac:chgData name="Yaroslav Zhydyk" userId="feca11449df7c5ed" providerId="LiveId" clId="{DEB4F5E9-665E-474A-A1DA-C825ECC08A2E}" dt="2022-11-12T16:20:39.918" v="204" actId="164"/>
          <ac:spMkLst>
            <pc:docMk/>
            <pc:sldMk cId="1452547378" sldId="873"/>
            <ac:spMk id="33" creationId="{EE078E67-9EB1-435D-8CCF-311FEEE5FC2F}"/>
          </ac:spMkLst>
        </pc:spChg>
        <pc:spChg chg="mod">
          <ac:chgData name="Yaroslav Zhydyk" userId="feca11449df7c5ed" providerId="LiveId" clId="{DEB4F5E9-665E-474A-A1DA-C825ECC08A2E}" dt="2022-11-12T16:20:39.918" v="204" actId="164"/>
          <ac:spMkLst>
            <pc:docMk/>
            <pc:sldMk cId="1452547378" sldId="873"/>
            <ac:spMk id="34" creationId="{E7531768-9AD3-439B-8402-C725108FC719}"/>
          </ac:spMkLst>
        </pc:spChg>
        <pc:spChg chg="mod">
          <ac:chgData name="Yaroslav Zhydyk" userId="feca11449df7c5ed" providerId="LiveId" clId="{DEB4F5E9-665E-474A-A1DA-C825ECC08A2E}" dt="2022-11-12T16:20:39.918" v="204" actId="164"/>
          <ac:spMkLst>
            <pc:docMk/>
            <pc:sldMk cId="1452547378" sldId="873"/>
            <ac:spMk id="35" creationId="{9B865FA1-AB3B-45C0-8178-01B7C2D77AA6}"/>
          </ac:spMkLst>
        </pc:spChg>
        <pc:spChg chg="mod">
          <ac:chgData name="Yaroslav Zhydyk" userId="feca11449df7c5ed" providerId="LiveId" clId="{DEB4F5E9-665E-474A-A1DA-C825ECC08A2E}" dt="2022-11-12T16:20:39.918" v="204" actId="164"/>
          <ac:spMkLst>
            <pc:docMk/>
            <pc:sldMk cId="1452547378" sldId="873"/>
            <ac:spMk id="39" creationId="{60500B33-CEC4-46BE-8AA5-656CA15D3A2A}"/>
          </ac:spMkLst>
        </pc:spChg>
        <pc:spChg chg="mod">
          <ac:chgData name="Yaroslav Zhydyk" userId="feca11449df7c5ed" providerId="LiveId" clId="{DEB4F5E9-665E-474A-A1DA-C825ECC08A2E}" dt="2022-11-12T16:20:39.918" v="204" actId="164"/>
          <ac:spMkLst>
            <pc:docMk/>
            <pc:sldMk cId="1452547378" sldId="873"/>
            <ac:spMk id="40" creationId="{B64CDECF-0977-4FD4-9C17-E44324F72689}"/>
          </ac:spMkLst>
        </pc:spChg>
        <pc:spChg chg="mod">
          <ac:chgData name="Yaroslav Zhydyk" userId="feca11449df7c5ed" providerId="LiveId" clId="{DEB4F5E9-665E-474A-A1DA-C825ECC08A2E}" dt="2022-11-12T16:20:39.918" v="204" actId="164"/>
          <ac:spMkLst>
            <pc:docMk/>
            <pc:sldMk cId="1452547378" sldId="873"/>
            <ac:spMk id="41" creationId="{683C7656-F4AC-4389-BBE9-AA434D9BE472}"/>
          </ac:spMkLst>
        </pc:spChg>
        <pc:grpChg chg="add mod">
          <ac:chgData name="Yaroslav Zhydyk" userId="feca11449df7c5ed" providerId="LiveId" clId="{DEB4F5E9-665E-474A-A1DA-C825ECC08A2E}" dt="2022-11-12T16:20:39.918" v="204" actId="164"/>
          <ac:grpSpMkLst>
            <pc:docMk/>
            <pc:sldMk cId="1452547378" sldId="873"/>
            <ac:grpSpMk id="4" creationId="{A1805441-640A-C826-1502-E71CC31F6CB0}"/>
          </ac:grpSpMkLst>
        </pc:grpChg>
      </pc:sldChg>
      <pc:sldChg chg="addSp delSp modSp add del mod delAnim modAnim">
        <pc:chgData name="Yaroslav Zhydyk" userId="feca11449df7c5ed" providerId="LiveId" clId="{DEB4F5E9-665E-474A-A1DA-C825ECC08A2E}" dt="2022-11-12T16:24:27.209" v="260" actId="47"/>
        <pc:sldMkLst>
          <pc:docMk/>
          <pc:sldMk cId="546187442" sldId="874"/>
        </pc:sldMkLst>
        <pc:spChg chg="mod">
          <ac:chgData name="Yaroslav Zhydyk" userId="feca11449df7c5ed" providerId="LiveId" clId="{DEB4F5E9-665E-474A-A1DA-C825ECC08A2E}" dt="2022-11-12T16:23:06.647" v="246" actId="164"/>
          <ac:spMkLst>
            <pc:docMk/>
            <pc:sldMk cId="546187442" sldId="874"/>
            <ac:spMk id="38" creationId="{6316E8D0-09E7-43EB-83FF-8851575237E5}"/>
          </ac:spMkLst>
        </pc:spChg>
        <pc:spChg chg="mod">
          <ac:chgData name="Yaroslav Zhydyk" userId="feca11449df7c5ed" providerId="LiveId" clId="{DEB4F5E9-665E-474A-A1DA-C825ECC08A2E}" dt="2022-11-12T16:23:06.647" v="246" actId="164"/>
          <ac:spMkLst>
            <pc:docMk/>
            <pc:sldMk cId="546187442" sldId="874"/>
            <ac:spMk id="53" creationId="{E187CA2A-7D3E-4B0C-896A-4CC8C46CE55F}"/>
          </ac:spMkLst>
        </pc:spChg>
        <pc:spChg chg="mod">
          <ac:chgData name="Yaroslav Zhydyk" userId="feca11449df7c5ed" providerId="LiveId" clId="{DEB4F5E9-665E-474A-A1DA-C825ECC08A2E}" dt="2022-11-12T16:23:06.647" v="246" actId="164"/>
          <ac:spMkLst>
            <pc:docMk/>
            <pc:sldMk cId="546187442" sldId="874"/>
            <ac:spMk id="54" creationId="{E3E97ED5-78B9-4F25-8030-68B416EB7672}"/>
          </ac:spMkLst>
        </pc:spChg>
        <pc:spChg chg="mod">
          <ac:chgData name="Yaroslav Zhydyk" userId="feca11449df7c5ed" providerId="LiveId" clId="{DEB4F5E9-665E-474A-A1DA-C825ECC08A2E}" dt="2022-11-12T16:23:06.647" v="246" actId="164"/>
          <ac:spMkLst>
            <pc:docMk/>
            <pc:sldMk cId="546187442" sldId="874"/>
            <ac:spMk id="55" creationId="{C41F36B7-88FF-4ABC-8A38-B740898EC82F}"/>
          </ac:spMkLst>
        </pc:spChg>
        <pc:spChg chg="mod">
          <ac:chgData name="Yaroslav Zhydyk" userId="feca11449df7c5ed" providerId="LiveId" clId="{DEB4F5E9-665E-474A-A1DA-C825ECC08A2E}" dt="2022-11-12T16:23:06.647" v="246" actId="164"/>
          <ac:spMkLst>
            <pc:docMk/>
            <pc:sldMk cId="546187442" sldId="874"/>
            <ac:spMk id="56" creationId="{D5DD4FB9-BB32-4D3C-B645-E4B116D59160}"/>
          </ac:spMkLst>
        </pc:spChg>
        <pc:spChg chg="mod">
          <ac:chgData name="Yaroslav Zhydyk" userId="feca11449df7c5ed" providerId="LiveId" clId="{DEB4F5E9-665E-474A-A1DA-C825ECC08A2E}" dt="2022-11-12T16:23:06.647" v="246" actId="164"/>
          <ac:spMkLst>
            <pc:docMk/>
            <pc:sldMk cId="546187442" sldId="874"/>
            <ac:spMk id="57" creationId="{BD8061CD-FFBA-4190-A4FD-F641C315C846}"/>
          </ac:spMkLst>
        </pc:spChg>
        <pc:spChg chg="mod">
          <ac:chgData name="Yaroslav Zhydyk" userId="feca11449df7c5ed" providerId="LiveId" clId="{DEB4F5E9-665E-474A-A1DA-C825ECC08A2E}" dt="2022-11-12T16:23:06.647" v="246" actId="164"/>
          <ac:spMkLst>
            <pc:docMk/>
            <pc:sldMk cId="546187442" sldId="874"/>
            <ac:spMk id="58" creationId="{51EEB03F-330C-49D2-BBFC-94261A2232A3}"/>
          </ac:spMkLst>
        </pc:spChg>
        <pc:spChg chg="mod">
          <ac:chgData name="Yaroslav Zhydyk" userId="feca11449df7c5ed" providerId="LiveId" clId="{DEB4F5E9-665E-474A-A1DA-C825ECC08A2E}" dt="2022-11-12T16:23:06.647" v="246" actId="164"/>
          <ac:spMkLst>
            <pc:docMk/>
            <pc:sldMk cId="546187442" sldId="874"/>
            <ac:spMk id="61" creationId="{78AF351F-C373-4940-812A-B9453B862B64}"/>
          </ac:spMkLst>
        </pc:spChg>
        <pc:grpChg chg="del mod">
          <ac:chgData name="Yaroslav Zhydyk" userId="feca11449df7c5ed" providerId="LiveId" clId="{DEB4F5E9-665E-474A-A1DA-C825ECC08A2E}" dt="2022-11-12T16:23:27.365" v="247" actId="21"/>
          <ac:grpSpMkLst>
            <pc:docMk/>
            <pc:sldMk cId="546187442" sldId="874"/>
            <ac:grpSpMk id="4" creationId="{16374510-7709-4949-A3AD-E69107629293}"/>
          </ac:grpSpMkLst>
        </pc:grpChg>
        <pc:grpChg chg="add mod">
          <ac:chgData name="Yaroslav Zhydyk" userId="feca11449df7c5ed" providerId="LiveId" clId="{DEB4F5E9-665E-474A-A1DA-C825ECC08A2E}" dt="2022-11-12T16:23:06.647" v="246" actId="164"/>
          <ac:grpSpMkLst>
            <pc:docMk/>
            <pc:sldMk cId="546187442" sldId="874"/>
            <ac:grpSpMk id="5" creationId="{8ACFF9E9-BD35-DFAF-F184-44BB9CDBDE76}"/>
          </ac:grpSpMkLst>
        </pc:grpChg>
        <pc:grpChg chg="del mod">
          <ac:chgData name="Yaroslav Zhydyk" userId="feca11449df7c5ed" providerId="LiveId" clId="{DEB4F5E9-665E-474A-A1DA-C825ECC08A2E}" dt="2022-11-12T16:23:27.365" v="247" actId="21"/>
          <ac:grpSpMkLst>
            <pc:docMk/>
            <pc:sldMk cId="546187442" sldId="874"/>
            <ac:grpSpMk id="51" creationId="{4B240519-58B6-415B-958E-C4AF543E9714}"/>
          </ac:grpSpMkLst>
        </pc:grpChg>
        <pc:grpChg chg="mod">
          <ac:chgData name="Yaroslav Zhydyk" userId="feca11449df7c5ed" providerId="LiveId" clId="{DEB4F5E9-665E-474A-A1DA-C825ECC08A2E}" dt="2022-11-12T16:23:06.647" v="246" actId="164"/>
          <ac:grpSpMkLst>
            <pc:docMk/>
            <pc:sldMk cId="546187442" sldId="874"/>
            <ac:grpSpMk id="59" creationId="{CB6389C2-1B18-49D0-ACC3-2C091DDDE65D}"/>
          </ac:grpSpMkLst>
        </pc:grpChg>
        <pc:picChg chg="del mod">
          <ac:chgData name="Yaroslav Zhydyk" userId="feca11449df7c5ed" providerId="LiveId" clId="{DEB4F5E9-665E-474A-A1DA-C825ECC08A2E}" dt="2022-11-12T16:23:27.365" v="247" actId="21"/>
          <ac:picMkLst>
            <pc:docMk/>
            <pc:sldMk cId="546187442" sldId="874"/>
            <ac:picMk id="41" creationId="{228F2E90-020F-3B3D-7165-49EA7FBCB8C7}"/>
          </ac:picMkLst>
        </pc:picChg>
        <pc:picChg chg="del mod">
          <ac:chgData name="Yaroslav Zhydyk" userId="feca11449df7c5ed" providerId="LiveId" clId="{DEB4F5E9-665E-474A-A1DA-C825ECC08A2E}" dt="2022-11-12T16:23:27.365" v="247" actId="21"/>
          <ac:picMkLst>
            <pc:docMk/>
            <pc:sldMk cId="546187442" sldId="874"/>
            <ac:picMk id="43" creationId="{6A1DE17C-2E68-CD21-E251-1352CC20BAC8}"/>
          </ac:picMkLst>
        </pc:picChg>
        <pc:picChg chg="del mod">
          <ac:chgData name="Yaroslav Zhydyk" userId="feca11449df7c5ed" providerId="LiveId" clId="{DEB4F5E9-665E-474A-A1DA-C825ECC08A2E}" dt="2022-11-12T16:23:27.365" v="247" actId="21"/>
          <ac:picMkLst>
            <pc:docMk/>
            <pc:sldMk cId="546187442" sldId="874"/>
            <ac:picMk id="45" creationId="{7B41E642-6A48-E360-C427-F32B196A6C30}"/>
          </ac:picMkLst>
        </pc:picChg>
        <pc:picChg chg="del mod">
          <ac:chgData name="Yaroslav Zhydyk" userId="feca11449df7c5ed" providerId="LiveId" clId="{DEB4F5E9-665E-474A-A1DA-C825ECC08A2E}" dt="2022-11-12T16:23:27.365" v="247" actId="21"/>
          <ac:picMkLst>
            <pc:docMk/>
            <pc:sldMk cId="546187442" sldId="874"/>
            <ac:picMk id="47" creationId="{B90994B5-9016-7CAA-4A50-A02500C600C1}"/>
          </ac:picMkLst>
        </pc:picChg>
        <pc:picChg chg="del mod">
          <ac:chgData name="Yaroslav Zhydyk" userId="feca11449df7c5ed" providerId="LiveId" clId="{DEB4F5E9-665E-474A-A1DA-C825ECC08A2E}" dt="2022-11-12T16:23:27.365" v="247" actId="21"/>
          <ac:picMkLst>
            <pc:docMk/>
            <pc:sldMk cId="546187442" sldId="874"/>
            <ac:picMk id="49" creationId="{1E095EDF-488C-7FE3-63C8-F96308376C9F}"/>
          </ac:picMkLst>
        </pc:picChg>
        <pc:picChg chg="del mod">
          <ac:chgData name="Yaroslav Zhydyk" userId="feca11449df7c5ed" providerId="LiveId" clId="{DEB4F5E9-665E-474A-A1DA-C825ECC08A2E}" dt="2022-11-12T16:23:27.365" v="247" actId="21"/>
          <ac:picMkLst>
            <pc:docMk/>
            <pc:sldMk cId="546187442" sldId="874"/>
            <ac:picMk id="50" creationId="{9A088506-448A-372F-A2E2-659AF86F88EC}"/>
          </ac:picMkLst>
        </pc:picChg>
        <pc:cxnChg chg="mod">
          <ac:chgData name="Yaroslav Zhydyk" userId="feca11449df7c5ed" providerId="LiveId" clId="{DEB4F5E9-665E-474A-A1DA-C825ECC08A2E}" dt="2022-11-12T16:23:06.647" v="246" actId="164"/>
          <ac:cxnSpMkLst>
            <pc:docMk/>
            <pc:sldMk cId="546187442" sldId="874"/>
            <ac:cxnSpMk id="34" creationId="{FFB15803-C4E8-47D5-A2CA-4144799CC7AE}"/>
          </ac:cxnSpMkLst>
        </pc:cxnChg>
        <pc:cxnChg chg="mod">
          <ac:chgData name="Yaroslav Zhydyk" userId="feca11449df7c5ed" providerId="LiveId" clId="{DEB4F5E9-665E-474A-A1DA-C825ECC08A2E}" dt="2022-11-12T16:23:06.647" v="246" actId="164"/>
          <ac:cxnSpMkLst>
            <pc:docMk/>
            <pc:sldMk cId="546187442" sldId="874"/>
            <ac:cxnSpMk id="40" creationId="{62A6BB6B-46FF-4232-833B-9C19B33C4DFD}"/>
          </ac:cxnSpMkLst>
        </pc:cxnChg>
        <pc:cxnChg chg="mod">
          <ac:chgData name="Yaroslav Zhydyk" userId="feca11449df7c5ed" providerId="LiveId" clId="{DEB4F5E9-665E-474A-A1DA-C825ECC08A2E}" dt="2022-11-12T16:23:06.647" v="246" actId="164"/>
          <ac:cxnSpMkLst>
            <pc:docMk/>
            <pc:sldMk cId="546187442" sldId="874"/>
            <ac:cxnSpMk id="42" creationId="{3CAFAB73-F03F-478D-AC57-AEE516CD4AA6}"/>
          </ac:cxnSpMkLst>
        </pc:cxnChg>
        <pc:cxnChg chg="mod">
          <ac:chgData name="Yaroslav Zhydyk" userId="feca11449df7c5ed" providerId="LiveId" clId="{DEB4F5E9-665E-474A-A1DA-C825ECC08A2E}" dt="2022-11-12T16:23:06.647" v="246" actId="164"/>
          <ac:cxnSpMkLst>
            <pc:docMk/>
            <pc:sldMk cId="546187442" sldId="874"/>
            <ac:cxnSpMk id="44" creationId="{8A65D2E8-CB90-4BD1-93F5-72D82649DA11}"/>
          </ac:cxnSpMkLst>
        </pc:cxnChg>
        <pc:cxnChg chg="mod">
          <ac:chgData name="Yaroslav Zhydyk" userId="feca11449df7c5ed" providerId="LiveId" clId="{DEB4F5E9-665E-474A-A1DA-C825ECC08A2E}" dt="2022-11-12T16:23:06.647" v="246" actId="164"/>
          <ac:cxnSpMkLst>
            <pc:docMk/>
            <pc:sldMk cId="546187442" sldId="874"/>
            <ac:cxnSpMk id="46" creationId="{C1EA63FE-9010-434B-867D-EA35F56DF3DE}"/>
          </ac:cxnSpMkLst>
        </pc:cxnChg>
        <pc:cxnChg chg="mod">
          <ac:chgData name="Yaroslav Zhydyk" userId="feca11449df7c5ed" providerId="LiveId" clId="{DEB4F5E9-665E-474A-A1DA-C825ECC08A2E}" dt="2022-11-12T16:23:06.647" v="246" actId="164"/>
          <ac:cxnSpMkLst>
            <pc:docMk/>
            <pc:sldMk cId="546187442" sldId="874"/>
            <ac:cxnSpMk id="48" creationId="{4C19BEF1-93A4-4F86-9700-388F00C38A2A}"/>
          </ac:cxnSpMkLst>
        </pc:cxnChg>
      </pc:sldChg>
      <pc:sldChg chg="addSp modSp add">
        <pc:chgData name="Yaroslav Zhydyk" userId="feca11449df7c5ed" providerId="LiveId" clId="{DEB4F5E9-665E-474A-A1DA-C825ECC08A2E}" dt="2022-11-12T17:02:33.384" v="924"/>
        <pc:sldMkLst>
          <pc:docMk/>
          <pc:sldMk cId="3278012407" sldId="878"/>
        </pc:sldMkLst>
        <pc:spChg chg="add mod">
          <ac:chgData name="Yaroslav Zhydyk" userId="feca11449df7c5ed" providerId="LiveId" clId="{DEB4F5E9-665E-474A-A1DA-C825ECC08A2E}" dt="2022-11-12T17:02:33.384" v="924"/>
          <ac:spMkLst>
            <pc:docMk/>
            <pc:sldMk cId="3278012407" sldId="878"/>
            <ac:spMk id="2" creationId="{2D56D302-1BFB-A167-20DD-4FD4AF06EC5C}"/>
          </ac:spMkLst>
        </pc:spChg>
      </pc:sldChg>
      <pc:sldChg chg="addSp modSp add mod">
        <pc:chgData name="Yaroslav Zhydyk" userId="feca11449df7c5ed" providerId="LiveId" clId="{DEB4F5E9-665E-474A-A1DA-C825ECC08A2E}" dt="2022-11-12T17:02:48.512" v="930" actId="1076"/>
        <pc:sldMkLst>
          <pc:docMk/>
          <pc:sldMk cId="1766951438" sldId="879"/>
        </pc:sldMkLst>
        <pc:spChg chg="add mod">
          <ac:chgData name="Yaroslav Zhydyk" userId="feca11449df7c5ed" providerId="LiveId" clId="{DEB4F5E9-665E-474A-A1DA-C825ECC08A2E}" dt="2022-11-12T17:02:39.141" v="927"/>
          <ac:spMkLst>
            <pc:docMk/>
            <pc:sldMk cId="1766951438" sldId="879"/>
            <ac:spMk id="2" creationId="{E7B0B6D7-4443-B0E2-6BF4-6B27B3105B11}"/>
          </ac:spMkLst>
        </pc:spChg>
        <pc:spChg chg="mod">
          <ac:chgData name="Yaroslav Zhydyk" userId="feca11449df7c5ed" providerId="LiveId" clId="{DEB4F5E9-665E-474A-A1DA-C825ECC08A2E}" dt="2022-11-12T17:02:45.456" v="929" actId="1076"/>
          <ac:spMkLst>
            <pc:docMk/>
            <pc:sldMk cId="1766951438" sldId="879"/>
            <ac:spMk id="3" creationId="{11B27E33-982C-41EB-8679-5CE1119C7A23}"/>
          </ac:spMkLst>
        </pc:spChg>
        <pc:spChg chg="mod">
          <ac:chgData name="Yaroslav Zhydyk" userId="feca11449df7c5ed" providerId="LiveId" clId="{DEB4F5E9-665E-474A-A1DA-C825ECC08A2E}" dt="2022-11-12T17:02:48.512" v="930" actId="1076"/>
          <ac:spMkLst>
            <pc:docMk/>
            <pc:sldMk cId="1766951438" sldId="879"/>
            <ac:spMk id="4" creationId="{D5EF1166-B9F6-420D-AC49-5C07A638EBEA}"/>
          </ac:spMkLst>
        </pc:spChg>
      </pc:sldChg>
      <pc:sldChg chg="delSp add del mod">
        <pc:chgData name="Yaroslav Zhydyk" userId="feca11449df7c5ed" providerId="LiveId" clId="{DEB4F5E9-665E-474A-A1DA-C825ECC08A2E}" dt="2022-11-12T17:02:28.743" v="923" actId="47"/>
        <pc:sldMkLst>
          <pc:docMk/>
          <pc:sldMk cId="37010687" sldId="884"/>
        </pc:sldMkLst>
        <pc:spChg chg="del">
          <ac:chgData name="Yaroslav Zhydyk" userId="feca11449df7c5ed" providerId="LiveId" clId="{DEB4F5E9-665E-474A-A1DA-C825ECC08A2E}" dt="2022-11-12T17:01:24.505" v="914" actId="21"/>
          <ac:spMkLst>
            <pc:docMk/>
            <pc:sldMk cId="37010687" sldId="884"/>
            <ac:spMk id="7" creationId="{1755AC31-8989-4AD4-89DB-D47691B58925}"/>
          </ac:spMkLst>
        </pc:spChg>
        <pc:spChg chg="del">
          <ac:chgData name="Yaroslav Zhydyk" userId="feca11449df7c5ed" providerId="LiveId" clId="{DEB4F5E9-665E-474A-A1DA-C825ECC08A2E}" dt="2022-11-12T17:01:24.505" v="914" actId="21"/>
          <ac:spMkLst>
            <pc:docMk/>
            <pc:sldMk cId="37010687" sldId="884"/>
            <ac:spMk id="12" creationId="{7DF2F504-4599-4889-86B8-EDAA15B38AB1}"/>
          </ac:spMkLst>
        </pc:spChg>
        <pc:spChg chg="del">
          <ac:chgData name="Yaroslav Zhydyk" userId="feca11449df7c5ed" providerId="LiveId" clId="{DEB4F5E9-665E-474A-A1DA-C825ECC08A2E}" dt="2022-11-12T17:01:24.505" v="914" actId="21"/>
          <ac:spMkLst>
            <pc:docMk/>
            <pc:sldMk cId="37010687" sldId="884"/>
            <ac:spMk id="13" creationId="{AB69A324-7ADA-4959-A36C-4D69B3A99845}"/>
          </ac:spMkLst>
        </pc:spChg>
      </pc:sldChg>
      <pc:sldChg chg="addSp modSp add">
        <pc:chgData name="Yaroslav Zhydyk" userId="feca11449df7c5ed" providerId="LiveId" clId="{DEB4F5E9-665E-474A-A1DA-C825ECC08A2E}" dt="2022-11-12T16:40:59.367" v="545"/>
        <pc:sldMkLst>
          <pc:docMk/>
          <pc:sldMk cId="2367745357" sldId="903"/>
        </pc:sldMkLst>
        <pc:spChg chg="add mod">
          <ac:chgData name="Yaroslav Zhydyk" userId="feca11449df7c5ed" providerId="LiveId" clId="{DEB4F5E9-665E-474A-A1DA-C825ECC08A2E}" dt="2022-11-12T16:40:59.367" v="545"/>
          <ac:spMkLst>
            <pc:docMk/>
            <pc:sldMk cId="2367745357" sldId="903"/>
            <ac:spMk id="2" creationId="{B427CE1D-2E37-959D-13CA-152FB9D9C9A4}"/>
          </ac:spMkLst>
        </pc:spChg>
      </pc:sldChg>
      <pc:sldChg chg="delSp add del mod delAnim">
        <pc:chgData name="Yaroslav Zhydyk" userId="feca11449df7c5ed" providerId="LiveId" clId="{DEB4F5E9-665E-474A-A1DA-C825ECC08A2E}" dt="2022-11-12T16:48:32.840" v="655" actId="47"/>
        <pc:sldMkLst>
          <pc:docMk/>
          <pc:sldMk cId="483081548" sldId="904"/>
        </pc:sldMkLst>
        <pc:spChg chg="del">
          <ac:chgData name="Yaroslav Zhydyk" userId="feca11449df7c5ed" providerId="LiveId" clId="{DEB4F5E9-665E-474A-A1DA-C825ECC08A2E}" dt="2022-11-12T16:47:36.935" v="637" actId="478"/>
          <ac:spMkLst>
            <pc:docMk/>
            <pc:sldMk cId="483081548" sldId="904"/>
            <ac:spMk id="2" creationId="{BCE7890E-EA73-4A55-8A33-D013BC836841}"/>
          </ac:spMkLst>
        </pc:spChg>
        <pc:picChg chg="del">
          <ac:chgData name="Yaroslav Zhydyk" userId="feca11449df7c5ed" providerId="LiveId" clId="{DEB4F5E9-665E-474A-A1DA-C825ECC08A2E}" dt="2022-11-12T16:47:05.544" v="622" actId="21"/>
          <ac:picMkLst>
            <pc:docMk/>
            <pc:sldMk cId="483081548" sldId="904"/>
            <ac:picMk id="4" creationId="{388EFD09-A544-818B-B5D8-0E49158118EA}"/>
          </ac:picMkLst>
        </pc:picChg>
        <pc:picChg chg="del">
          <ac:chgData name="Yaroslav Zhydyk" userId="feca11449df7c5ed" providerId="LiveId" clId="{DEB4F5E9-665E-474A-A1DA-C825ECC08A2E}" dt="2022-11-12T16:47:38.240" v="638" actId="21"/>
          <ac:picMkLst>
            <pc:docMk/>
            <pc:sldMk cId="483081548" sldId="904"/>
            <ac:picMk id="8" creationId="{ACF2DDD2-36DC-B34C-3A6E-3F7549A6949E}"/>
          </ac:picMkLst>
        </pc:picChg>
        <pc:picChg chg="del">
          <ac:chgData name="Yaroslav Zhydyk" userId="feca11449df7c5ed" providerId="LiveId" clId="{DEB4F5E9-665E-474A-A1DA-C825ECC08A2E}" dt="2022-11-12T16:47:18.134" v="628" actId="21"/>
          <ac:picMkLst>
            <pc:docMk/>
            <pc:sldMk cId="483081548" sldId="904"/>
            <ac:picMk id="7170" creationId="{254CC702-6C1B-48AF-9122-D64B6E67250B}"/>
          </ac:picMkLst>
        </pc:picChg>
        <pc:picChg chg="del">
          <ac:chgData name="Yaroslav Zhydyk" userId="feca11449df7c5ed" providerId="LiveId" clId="{DEB4F5E9-665E-474A-A1DA-C825ECC08A2E}" dt="2022-11-12T16:48:05.039" v="647" actId="21"/>
          <ac:picMkLst>
            <pc:docMk/>
            <pc:sldMk cId="483081548" sldId="904"/>
            <ac:picMk id="7172" creationId="{18F272C1-7B48-4524-8F00-B2F729719122}"/>
          </ac:picMkLst>
        </pc:picChg>
      </pc:sldChg>
      <pc:sldChg chg="addSp modSp add mod">
        <pc:chgData name="Yaroslav Zhydyk" userId="feca11449df7c5ed" providerId="LiveId" clId="{DEB4F5E9-665E-474A-A1DA-C825ECC08A2E}" dt="2022-11-12T16:32:12.168" v="347"/>
        <pc:sldMkLst>
          <pc:docMk/>
          <pc:sldMk cId="2240206813" sldId="923"/>
        </pc:sldMkLst>
        <pc:spChg chg="add mod">
          <ac:chgData name="Yaroslav Zhydyk" userId="feca11449df7c5ed" providerId="LiveId" clId="{DEB4F5E9-665E-474A-A1DA-C825ECC08A2E}" dt="2022-11-12T16:32:12.168" v="347"/>
          <ac:spMkLst>
            <pc:docMk/>
            <pc:sldMk cId="2240206813" sldId="923"/>
            <ac:spMk id="2" creationId="{27A42B84-105C-FDAF-6FC6-F0E2DB56C51F}"/>
          </ac:spMkLst>
        </pc:spChg>
        <pc:spChg chg="mod">
          <ac:chgData name="Yaroslav Zhydyk" userId="feca11449df7c5ed" providerId="LiveId" clId="{DEB4F5E9-665E-474A-A1DA-C825ECC08A2E}" dt="2022-11-12T16:22:04.591" v="230" actId="207"/>
          <ac:spMkLst>
            <pc:docMk/>
            <pc:sldMk cId="2240206813" sldId="923"/>
            <ac:spMk id="12" creationId="{F0B9EFCC-D89D-4BE2-921E-09B342582B73}"/>
          </ac:spMkLst>
        </pc:spChg>
        <pc:spChg chg="mod">
          <ac:chgData name="Yaroslav Zhydyk" userId="feca11449df7c5ed" providerId="LiveId" clId="{DEB4F5E9-665E-474A-A1DA-C825ECC08A2E}" dt="2022-11-12T16:22:14.482" v="231" actId="207"/>
          <ac:spMkLst>
            <pc:docMk/>
            <pc:sldMk cId="2240206813" sldId="923"/>
            <ac:spMk id="14" creationId="{53BB09CD-053B-4F6C-8933-6D162B2006D2}"/>
          </ac:spMkLst>
        </pc:spChg>
        <pc:spChg chg="mod">
          <ac:chgData name="Yaroslav Zhydyk" userId="feca11449df7c5ed" providerId="LiveId" clId="{DEB4F5E9-665E-474A-A1DA-C825ECC08A2E}" dt="2022-11-12T16:22:14.482" v="231" actId="207"/>
          <ac:spMkLst>
            <pc:docMk/>
            <pc:sldMk cId="2240206813" sldId="923"/>
            <ac:spMk id="15" creationId="{E710A4C9-1F39-4984-93E4-8A84B13240F6}"/>
          </ac:spMkLst>
        </pc:spChg>
      </pc:sldChg>
      <pc:sldChg chg="delSp add mod">
        <pc:chgData name="Yaroslav Zhydyk" userId="feca11449df7c5ed" providerId="LiveId" clId="{DEB4F5E9-665E-474A-A1DA-C825ECC08A2E}" dt="2022-11-12T18:34:07.882" v="966" actId="478"/>
        <pc:sldMkLst>
          <pc:docMk/>
          <pc:sldMk cId="1479692539" sldId="931"/>
        </pc:sldMkLst>
        <pc:spChg chg="del">
          <ac:chgData name="Yaroslav Zhydyk" userId="feca11449df7c5ed" providerId="LiveId" clId="{DEB4F5E9-665E-474A-A1DA-C825ECC08A2E}" dt="2022-11-12T18:34:07.882" v="966" actId="478"/>
          <ac:spMkLst>
            <pc:docMk/>
            <pc:sldMk cId="1479692539" sldId="931"/>
            <ac:spMk id="5" creationId="{7499F93E-8ACD-425E-8727-032BE4C5DB6F}"/>
          </ac:spMkLst>
        </pc:spChg>
      </pc:sldChg>
      <pc:sldChg chg="add">
        <pc:chgData name="Yaroslav Zhydyk" userId="feca11449df7c5ed" providerId="LiveId" clId="{DEB4F5E9-665E-474A-A1DA-C825ECC08A2E}" dt="2022-11-12T18:33:17.937" v="932"/>
        <pc:sldMkLst>
          <pc:docMk/>
          <pc:sldMk cId="2622524106" sldId="932"/>
        </pc:sldMkLst>
      </pc:sldChg>
      <pc:sldChg chg="modSp add mod">
        <pc:chgData name="Yaroslav Zhydyk" userId="feca11449df7c5ed" providerId="LiveId" clId="{DEB4F5E9-665E-474A-A1DA-C825ECC08A2E}" dt="2022-11-12T16:33:41.685" v="369" actId="20577"/>
        <pc:sldMkLst>
          <pc:docMk/>
          <pc:sldMk cId="549994671" sldId="943"/>
        </pc:sldMkLst>
        <pc:spChg chg="mod">
          <ac:chgData name="Yaroslav Zhydyk" userId="feca11449df7c5ed" providerId="LiveId" clId="{DEB4F5E9-665E-474A-A1DA-C825ECC08A2E}" dt="2022-11-12T16:33:41.685" v="369" actId="20577"/>
          <ac:spMkLst>
            <pc:docMk/>
            <pc:sldMk cId="549994671" sldId="943"/>
            <ac:spMk id="13" creationId="{982D1B16-2C4D-4DEA-8452-CC1316AA600C}"/>
          </ac:spMkLst>
        </pc:spChg>
      </pc:sldChg>
      <pc:sldChg chg="modSp add mod">
        <pc:chgData name="Yaroslav Zhydyk" userId="feca11449df7c5ed" providerId="LiveId" clId="{DEB4F5E9-665E-474A-A1DA-C825ECC08A2E}" dt="2022-11-12T16:34:49.914" v="431" actId="14100"/>
        <pc:sldMkLst>
          <pc:docMk/>
          <pc:sldMk cId="617955716" sldId="945"/>
        </pc:sldMkLst>
        <pc:spChg chg="mod">
          <ac:chgData name="Yaroslav Zhydyk" userId="feca11449df7c5ed" providerId="LiveId" clId="{DEB4F5E9-665E-474A-A1DA-C825ECC08A2E}" dt="2022-11-12T16:34:49.914" v="431" actId="14100"/>
          <ac:spMkLst>
            <pc:docMk/>
            <pc:sldMk cId="617955716" sldId="945"/>
            <ac:spMk id="13" creationId="{CBA72BBF-40E7-4F77-BE53-9A8C52DE5F13}"/>
          </ac:spMkLst>
        </pc:spChg>
      </pc:sldChg>
      <pc:sldChg chg="add del">
        <pc:chgData name="Yaroslav Zhydyk" userId="feca11449df7c5ed" providerId="LiveId" clId="{DEB4F5E9-665E-474A-A1DA-C825ECC08A2E}" dt="2022-11-12T16:36:34.992" v="459" actId="47"/>
        <pc:sldMkLst>
          <pc:docMk/>
          <pc:sldMk cId="221810751" sldId="946"/>
        </pc:sldMkLst>
      </pc:sldChg>
      <pc:sldChg chg="addSp delSp modSp add del mod">
        <pc:chgData name="Yaroslav Zhydyk" userId="feca11449df7c5ed" providerId="LiveId" clId="{DEB4F5E9-665E-474A-A1DA-C825ECC08A2E}" dt="2022-11-12T16:42:43.386" v="570" actId="47"/>
        <pc:sldMkLst>
          <pc:docMk/>
          <pc:sldMk cId="2352684434" sldId="950"/>
        </pc:sldMkLst>
        <pc:spChg chg="mod">
          <ac:chgData name="Yaroslav Zhydyk" userId="feca11449df7c5ed" providerId="LiveId" clId="{DEB4F5E9-665E-474A-A1DA-C825ECC08A2E}" dt="2022-11-12T16:42:12.224" v="561" actId="164"/>
          <ac:spMkLst>
            <pc:docMk/>
            <pc:sldMk cId="2352684434" sldId="950"/>
            <ac:spMk id="52" creationId="{B1C98CBA-CE39-4130-947A-29B418544B40}"/>
          </ac:spMkLst>
        </pc:spChg>
        <pc:grpChg chg="add del mod">
          <ac:chgData name="Yaroslav Zhydyk" userId="feca11449df7c5ed" providerId="LiveId" clId="{DEB4F5E9-665E-474A-A1DA-C825ECC08A2E}" dt="2022-11-12T16:42:13.348" v="562" actId="21"/>
          <ac:grpSpMkLst>
            <pc:docMk/>
            <pc:sldMk cId="2352684434" sldId="950"/>
            <ac:grpSpMk id="3" creationId="{BE5EB9B4-0753-CE2E-4A92-C33AB56D05E6}"/>
          </ac:grpSpMkLst>
        </pc:grpChg>
        <pc:grpChg chg="mod">
          <ac:chgData name="Yaroslav Zhydyk" userId="feca11449df7c5ed" providerId="LiveId" clId="{DEB4F5E9-665E-474A-A1DA-C825ECC08A2E}" dt="2022-11-12T16:42:12.224" v="561" actId="164"/>
          <ac:grpSpMkLst>
            <pc:docMk/>
            <pc:sldMk cId="2352684434" sldId="950"/>
            <ac:grpSpMk id="26" creationId="{4FFCCB5B-6A38-48CE-9FC5-45A83C71A2EC}"/>
          </ac:grpSpMkLst>
        </pc:grpChg>
        <pc:grpChg chg="mod">
          <ac:chgData name="Yaroslav Zhydyk" userId="feca11449df7c5ed" providerId="LiveId" clId="{DEB4F5E9-665E-474A-A1DA-C825ECC08A2E}" dt="2022-11-12T16:42:12.224" v="561" actId="164"/>
          <ac:grpSpMkLst>
            <pc:docMk/>
            <pc:sldMk cId="2352684434" sldId="950"/>
            <ac:grpSpMk id="74" creationId="{1AEC5E37-6886-4DBC-A9D1-F7542EB8073C}"/>
          </ac:grpSpMkLst>
        </pc:grpChg>
        <pc:grpChg chg="mod">
          <ac:chgData name="Yaroslav Zhydyk" userId="feca11449df7c5ed" providerId="LiveId" clId="{DEB4F5E9-665E-474A-A1DA-C825ECC08A2E}" dt="2022-11-12T16:42:12.224" v="561" actId="164"/>
          <ac:grpSpMkLst>
            <pc:docMk/>
            <pc:sldMk cId="2352684434" sldId="950"/>
            <ac:grpSpMk id="77" creationId="{A463E071-DF57-4F52-8060-9AEBEF2319D3}"/>
          </ac:grpSpMkLst>
        </pc:grpChg>
        <pc:grpChg chg="mod">
          <ac:chgData name="Yaroslav Zhydyk" userId="feca11449df7c5ed" providerId="LiveId" clId="{DEB4F5E9-665E-474A-A1DA-C825ECC08A2E}" dt="2022-11-12T16:42:12.224" v="561" actId="164"/>
          <ac:grpSpMkLst>
            <pc:docMk/>
            <pc:sldMk cId="2352684434" sldId="950"/>
            <ac:grpSpMk id="80" creationId="{8BF42D8D-60A9-43B3-8C43-DF48012B0CAB}"/>
          </ac:grpSpMkLst>
        </pc:grpChg>
        <pc:grpChg chg="mod">
          <ac:chgData name="Yaroslav Zhydyk" userId="feca11449df7c5ed" providerId="LiveId" clId="{DEB4F5E9-665E-474A-A1DA-C825ECC08A2E}" dt="2022-11-12T16:42:12.224" v="561" actId="164"/>
          <ac:grpSpMkLst>
            <pc:docMk/>
            <pc:sldMk cId="2352684434" sldId="950"/>
            <ac:grpSpMk id="83" creationId="{B7FE1CF1-DA47-49E9-A7DF-EDA797ECB8B1}"/>
          </ac:grpSpMkLst>
        </pc:grpChg>
        <pc:picChg chg="mod">
          <ac:chgData name="Yaroslav Zhydyk" userId="feca11449df7c5ed" providerId="LiveId" clId="{DEB4F5E9-665E-474A-A1DA-C825ECC08A2E}" dt="2022-11-12T16:42:12.224" v="561" actId="164"/>
          <ac:picMkLst>
            <pc:docMk/>
            <pc:sldMk cId="2352684434" sldId="950"/>
            <ac:picMk id="32" creationId="{C724DD9E-CA1D-470C-82D3-4CFC67E70706}"/>
          </ac:picMkLst>
        </pc:picChg>
        <pc:picChg chg="mod">
          <ac:chgData name="Yaroslav Zhydyk" userId="feca11449df7c5ed" providerId="LiveId" clId="{DEB4F5E9-665E-474A-A1DA-C825ECC08A2E}" dt="2022-11-12T16:42:12.224" v="561" actId="164"/>
          <ac:picMkLst>
            <pc:docMk/>
            <pc:sldMk cId="2352684434" sldId="950"/>
            <ac:picMk id="90" creationId="{126413DE-B2AF-46BA-B424-E42EAA604401}"/>
          </ac:picMkLst>
        </pc:picChg>
        <pc:picChg chg="mod">
          <ac:chgData name="Yaroslav Zhydyk" userId="feca11449df7c5ed" providerId="LiveId" clId="{DEB4F5E9-665E-474A-A1DA-C825ECC08A2E}" dt="2022-11-12T16:42:12.224" v="561" actId="164"/>
          <ac:picMkLst>
            <pc:docMk/>
            <pc:sldMk cId="2352684434" sldId="950"/>
            <ac:picMk id="91" creationId="{2689EAC1-1421-4829-840A-E2C0778B687F}"/>
          </ac:picMkLst>
        </pc:picChg>
        <pc:picChg chg="mod">
          <ac:chgData name="Yaroslav Zhydyk" userId="feca11449df7c5ed" providerId="LiveId" clId="{DEB4F5E9-665E-474A-A1DA-C825ECC08A2E}" dt="2022-11-12T16:42:12.224" v="561" actId="164"/>
          <ac:picMkLst>
            <pc:docMk/>
            <pc:sldMk cId="2352684434" sldId="950"/>
            <ac:picMk id="92" creationId="{B4C130ED-5FAE-4175-9B8A-136786B184D4}"/>
          </ac:picMkLst>
        </pc:picChg>
        <pc:picChg chg="mod">
          <ac:chgData name="Yaroslav Zhydyk" userId="feca11449df7c5ed" providerId="LiveId" clId="{DEB4F5E9-665E-474A-A1DA-C825ECC08A2E}" dt="2022-11-12T16:42:12.224" v="561" actId="164"/>
          <ac:picMkLst>
            <pc:docMk/>
            <pc:sldMk cId="2352684434" sldId="950"/>
            <ac:picMk id="93" creationId="{3BAA4732-4E2B-481D-B540-89B1440A3424}"/>
          </ac:picMkLst>
        </pc:picChg>
        <pc:cxnChg chg="mod">
          <ac:chgData name="Yaroslav Zhydyk" userId="feca11449df7c5ed" providerId="LiveId" clId="{DEB4F5E9-665E-474A-A1DA-C825ECC08A2E}" dt="2022-11-12T16:42:12.224" v="561" actId="164"/>
          <ac:cxnSpMkLst>
            <pc:docMk/>
            <pc:sldMk cId="2352684434" sldId="950"/>
            <ac:cxnSpMk id="30" creationId="{57800621-E110-48D0-958A-16F465FC9CBE}"/>
          </ac:cxnSpMkLst>
        </pc:cxnChg>
        <pc:cxnChg chg="mod">
          <ac:chgData name="Yaroslav Zhydyk" userId="feca11449df7c5ed" providerId="LiveId" clId="{DEB4F5E9-665E-474A-A1DA-C825ECC08A2E}" dt="2022-11-12T16:42:12.224" v="561" actId="164"/>
          <ac:cxnSpMkLst>
            <pc:docMk/>
            <pc:sldMk cId="2352684434" sldId="950"/>
            <ac:cxnSpMk id="87" creationId="{18387B44-6296-4A0B-82D5-0C9A3D2A99FE}"/>
          </ac:cxnSpMkLst>
        </pc:cxnChg>
        <pc:cxnChg chg="mod">
          <ac:chgData name="Yaroslav Zhydyk" userId="feca11449df7c5ed" providerId="LiveId" clId="{DEB4F5E9-665E-474A-A1DA-C825ECC08A2E}" dt="2022-11-12T16:42:12.224" v="561" actId="164"/>
          <ac:cxnSpMkLst>
            <pc:docMk/>
            <pc:sldMk cId="2352684434" sldId="950"/>
            <ac:cxnSpMk id="88" creationId="{EC5AFC9B-1C7D-4100-9E53-2CCA65F92163}"/>
          </ac:cxnSpMkLst>
        </pc:cxnChg>
        <pc:cxnChg chg="mod">
          <ac:chgData name="Yaroslav Zhydyk" userId="feca11449df7c5ed" providerId="LiveId" clId="{DEB4F5E9-665E-474A-A1DA-C825ECC08A2E}" dt="2022-11-12T16:42:12.224" v="561" actId="164"/>
          <ac:cxnSpMkLst>
            <pc:docMk/>
            <pc:sldMk cId="2352684434" sldId="950"/>
            <ac:cxnSpMk id="89" creationId="{4D011553-B6DE-4785-B151-9B9A5B37E8FE}"/>
          </ac:cxnSpMkLst>
        </pc:cxnChg>
      </pc:sldChg>
      <pc:sldChg chg="add del">
        <pc:chgData name="Yaroslav Zhydyk" userId="feca11449df7c5ed" providerId="LiveId" clId="{DEB4F5E9-665E-474A-A1DA-C825ECC08A2E}" dt="2022-11-12T16:38:41.266" v="504" actId="47"/>
        <pc:sldMkLst>
          <pc:docMk/>
          <pc:sldMk cId="1072148977" sldId="952"/>
        </pc:sldMkLst>
      </pc:sldChg>
      <pc:sldChg chg="addSp modSp add">
        <pc:chgData name="Yaroslav Zhydyk" userId="feca11449df7c5ed" providerId="LiveId" clId="{DEB4F5E9-665E-474A-A1DA-C825ECC08A2E}" dt="2022-11-12T16:39:24.228" v="511"/>
        <pc:sldMkLst>
          <pc:docMk/>
          <pc:sldMk cId="3455418304" sldId="953"/>
        </pc:sldMkLst>
        <pc:spChg chg="add mod">
          <ac:chgData name="Yaroslav Zhydyk" userId="feca11449df7c5ed" providerId="LiveId" clId="{DEB4F5E9-665E-474A-A1DA-C825ECC08A2E}" dt="2022-11-12T16:39:24.228" v="511"/>
          <ac:spMkLst>
            <pc:docMk/>
            <pc:sldMk cId="3455418304" sldId="953"/>
            <ac:spMk id="2" creationId="{921ACE72-91FF-AA89-1720-0955BB3CE218}"/>
          </ac:spMkLst>
        </pc:spChg>
      </pc:sldChg>
      <pc:sldChg chg="addSp modSp add del">
        <pc:chgData name="Yaroslav Zhydyk" userId="feca11449df7c5ed" providerId="LiveId" clId="{DEB4F5E9-665E-474A-A1DA-C825ECC08A2E}" dt="2022-11-12T16:40:51.222" v="544" actId="47"/>
        <pc:sldMkLst>
          <pc:docMk/>
          <pc:sldMk cId="204262285" sldId="954"/>
        </pc:sldMkLst>
        <pc:spChg chg="mod">
          <ac:chgData name="Yaroslav Zhydyk" userId="feca11449df7c5ed" providerId="LiveId" clId="{DEB4F5E9-665E-474A-A1DA-C825ECC08A2E}" dt="2022-11-12T16:39:57.708" v="528" actId="164"/>
          <ac:spMkLst>
            <pc:docMk/>
            <pc:sldMk cId="204262285" sldId="954"/>
            <ac:spMk id="45" creationId="{CBF17915-926C-4330-8168-8E98DFAF5411}"/>
          </ac:spMkLst>
        </pc:spChg>
        <pc:spChg chg="mod">
          <ac:chgData name="Yaroslav Zhydyk" userId="feca11449df7c5ed" providerId="LiveId" clId="{DEB4F5E9-665E-474A-A1DA-C825ECC08A2E}" dt="2022-11-12T16:39:57.708" v="528" actId="164"/>
          <ac:spMkLst>
            <pc:docMk/>
            <pc:sldMk cId="204262285" sldId="954"/>
            <ac:spMk id="46" creationId="{550563AC-0368-4C92-9197-5D92440D0E12}"/>
          </ac:spMkLst>
        </pc:spChg>
        <pc:spChg chg="mod">
          <ac:chgData name="Yaroslav Zhydyk" userId="feca11449df7c5ed" providerId="LiveId" clId="{DEB4F5E9-665E-474A-A1DA-C825ECC08A2E}" dt="2022-11-12T16:39:57.708" v="528" actId="164"/>
          <ac:spMkLst>
            <pc:docMk/>
            <pc:sldMk cId="204262285" sldId="954"/>
            <ac:spMk id="47" creationId="{2FC6DF20-1D39-4A73-A5B1-2E15A7DD8555}"/>
          </ac:spMkLst>
        </pc:spChg>
        <pc:spChg chg="mod">
          <ac:chgData name="Yaroslav Zhydyk" userId="feca11449df7c5ed" providerId="LiveId" clId="{DEB4F5E9-665E-474A-A1DA-C825ECC08A2E}" dt="2022-11-12T16:39:57.708" v="528" actId="164"/>
          <ac:spMkLst>
            <pc:docMk/>
            <pc:sldMk cId="204262285" sldId="954"/>
            <ac:spMk id="48" creationId="{26AD06F2-636A-49A4-AF3E-841F6E42DFDE}"/>
          </ac:spMkLst>
        </pc:spChg>
        <pc:spChg chg="mod">
          <ac:chgData name="Yaroslav Zhydyk" userId="feca11449df7c5ed" providerId="LiveId" clId="{DEB4F5E9-665E-474A-A1DA-C825ECC08A2E}" dt="2022-11-12T16:39:57.708" v="528" actId="164"/>
          <ac:spMkLst>
            <pc:docMk/>
            <pc:sldMk cId="204262285" sldId="954"/>
            <ac:spMk id="49" creationId="{BAD65E76-9A47-441F-BCAE-02C63FE1F36D}"/>
          </ac:spMkLst>
        </pc:spChg>
        <pc:spChg chg="mod">
          <ac:chgData name="Yaroslav Zhydyk" userId="feca11449df7c5ed" providerId="LiveId" clId="{DEB4F5E9-665E-474A-A1DA-C825ECC08A2E}" dt="2022-11-12T16:39:57.708" v="528" actId="164"/>
          <ac:spMkLst>
            <pc:docMk/>
            <pc:sldMk cId="204262285" sldId="954"/>
            <ac:spMk id="50" creationId="{87959D52-427A-4404-B3F5-9A436DF98125}"/>
          </ac:spMkLst>
        </pc:spChg>
        <pc:spChg chg="mod">
          <ac:chgData name="Yaroslav Zhydyk" userId="feca11449df7c5ed" providerId="LiveId" clId="{DEB4F5E9-665E-474A-A1DA-C825ECC08A2E}" dt="2022-11-12T16:39:57.708" v="528" actId="164"/>
          <ac:spMkLst>
            <pc:docMk/>
            <pc:sldMk cId="204262285" sldId="954"/>
            <ac:spMk id="52" creationId="{5708D747-B964-4373-8FFF-BC3A1C91B61C}"/>
          </ac:spMkLst>
        </pc:spChg>
        <pc:spChg chg="mod">
          <ac:chgData name="Yaroslav Zhydyk" userId="feca11449df7c5ed" providerId="LiveId" clId="{DEB4F5E9-665E-474A-A1DA-C825ECC08A2E}" dt="2022-11-12T16:40:06.696" v="531" actId="164"/>
          <ac:spMkLst>
            <pc:docMk/>
            <pc:sldMk cId="204262285" sldId="954"/>
            <ac:spMk id="53" creationId="{5DA4B6B4-7492-4EE3-AFC0-A0DE1E47C5DE}"/>
          </ac:spMkLst>
        </pc:spChg>
        <pc:grpChg chg="add mod">
          <ac:chgData name="Yaroslav Zhydyk" userId="feca11449df7c5ed" providerId="LiveId" clId="{DEB4F5E9-665E-474A-A1DA-C825ECC08A2E}" dt="2022-11-12T16:39:57.708" v="528" actId="164"/>
          <ac:grpSpMkLst>
            <pc:docMk/>
            <pc:sldMk cId="204262285" sldId="954"/>
            <ac:grpSpMk id="3" creationId="{F7EDB88B-D994-70EA-DAC9-9AEC5D6C3626}"/>
          </ac:grpSpMkLst>
        </pc:grpChg>
        <pc:grpChg chg="add mod">
          <ac:chgData name="Yaroslav Zhydyk" userId="feca11449df7c5ed" providerId="LiveId" clId="{DEB4F5E9-665E-474A-A1DA-C825ECC08A2E}" dt="2022-11-12T16:40:06.696" v="531" actId="164"/>
          <ac:grpSpMkLst>
            <pc:docMk/>
            <pc:sldMk cId="204262285" sldId="954"/>
            <ac:grpSpMk id="4" creationId="{030E78FC-DD72-53F9-D3CE-13AF1F836E59}"/>
          </ac:grpSpMkLst>
        </pc:grpChg>
        <pc:grpChg chg="mod">
          <ac:chgData name="Yaroslav Zhydyk" userId="feca11449df7c5ed" providerId="LiveId" clId="{DEB4F5E9-665E-474A-A1DA-C825ECC08A2E}" dt="2022-11-12T16:40:06.696" v="531" actId="164"/>
          <ac:grpSpMkLst>
            <pc:docMk/>
            <pc:sldMk cId="204262285" sldId="954"/>
            <ac:grpSpMk id="55" creationId="{31F761E0-D3D1-487F-9B4B-D9CCBD0B947C}"/>
          </ac:grpSpMkLst>
        </pc:grpChg>
      </pc:sldChg>
      <pc:sldChg chg="addSp modSp add">
        <pc:chgData name="Yaroslav Zhydyk" userId="feca11449df7c5ed" providerId="LiveId" clId="{DEB4F5E9-665E-474A-A1DA-C825ECC08A2E}" dt="2022-11-12T16:41:05.694" v="547"/>
        <pc:sldMkLst>
          <pc:docMk/>
          <pc:sldMk cId="1763191886" sldId="956"/>
        </pc:sldMkLst>
        <pc:spChg chg="add mod">
          <ac:chgData name="Yaroslav Zhydyk" userId="feca11449df7c5ed" providerId="LiveId" clId="{DEB4F5E9-665E-474A-A1DA-C825ECC08A2E}" dt="2022-11-12T16:41:05.694" v="547"/>
          <ac:spMkLst>
            <pc:docMk/>
            <pc:sldMk cId="1763191886" sldId="956"/>
            <ac:spMk id="2" creationId="{A175CB4A-B103-944A-3C5B-97A763B119FD}"/>
          </ac:spMkLst>
        </pc:spChg>
      </pc:sldChg>
      <pc:sldChg chg="addSp modSp add">
        <pc:chgData name="Yaroslav Zhydyk" userId="feca11449df7c5ed" providerId="LiveId" clId="{DEB4F5E9-665E-474A-A1DA-C825ECC08A2E}" dt="2022-11-12T16:41:09.329" v="548"/>
        <pc:sldMkLst>
          <pc:docMk/>
          <pc:sldMk cId="2040382119" sldId="957"/>
        </pc:sldMkLst>
        <pc:spChg chg="add mod">
          <ac:chgData name="Yaroslav Zhydyk" userId="feca11449df7c5ed" providerId="LiveId" clId="{DEB4F5E9-665E-474A-A1DA-C825ECC08A2E}" dt="2022-11-12T16:41:09.329" v="548"/>
          <ac:spMkLst>
            <pc:docMk/>
            <pc:sldMk cId="2040382119" sldId="957"/>
            <ac:spMk id="2" creationId="{15E48F4F-FC48-DDA1-0E20-41F837B2067D}"/>
          </ac:spMkLst>
        </pc:spChg>
      </pc:sldChg>
      <pc:sldChg chg="addSp modSp add">
        <pc:chgData name="Yaroslav Zhydyk" userId="feca11449df7c5ed" providerId="LiveId" clId="{DEB4F5E9-665E-474A-A1DA-C825ECC08A2E}" dt="2022-11-12T16:42:50.647" v="572"/>
        <pc:sldMkLst>
          <pc:docMk/>
          <pc:sldMk cId="30125207" sldId="960"/>
        </pc:sldMkLst>
        <pc:spChg chg="add mod">
          <ac:chgData name="Yaroslav Zhydyk" userId="feca11449df7c5ed" providerId="LiveId" clId="{DEB4F5E9-665E-474A-A1DA-C825ECC08A2E}" dt="2022-11-12T16:42:50.647" v="572"/>
          <ac:spMkLst>
            <pc:docMk/>
            <pc:sldMk cId="30125207" sldId="960"/>
            <ac:spMk id="4" creationId="{81F97608-727D-0728-CD3D-67D27A1871D1}"/>
          </ac:spMkLst>
        </pc:spChg>
      </pc:sldChg>
      <pc:sldChg chg="add del">
        <pc:chgData name="Yaroslav Zhydyk" userId="feca11449df7c5ed" providerId="LiveId" clId="{DEB4F5E9-665E-474A-A1DA-C825ECC08A2E}" dt="2022-11-12T18:34:22.578" v="970" actId="47"/>
        <pc:sldMkLst>
          <pc:docMk/>
          <pc:sldMk cId="2353235809" sldId="991"/>
        </pc:sldMkLst>
      </pc:sldChg>
      <pc:sldChg chg="add">
        <pc:chgData name="Yaroslav Zhydyk" userId="feca11449df7c5ed" providerId="LiveId" clId="{DEB4F5E9-665E-474A-A1DA-C825ECC08A2E}" dt="2022-11-12T18:33:17.937" v="932"/>
        <pc:sldMkLst>
          <pc:docMk/>
          <pc:sldMk cId="1639294461" sldId="992"/>
        </pc:sldMkLst>
      </pc:sldChg>
      <pc:sldChg chg="add del">
        <pc:chgData name="Yaroslav Zhydyk" userId="feca11449df7c5ed" providerId="LiveId" clId="{DEB4F5E9-665E-474A-A1DA-C825ECC08A2E}" dt="2022-11-12T18:33:54.482" v="963" actId="47"/>
        <pc:sldMkLst>
          <pc:docMk/>
          <pc:sldMk cId="508331917" sldId="993"/>
        </pc:sldMkLst>
      </pc:sldChg>
      <pc:sldChg chg="add">
        <pc:chgData name="Yaroslav Zhydyk" userId="feca11449df7c5ed" providerId="LiveId" clId="{DEB4F5E9-665E-474A-A1DA-C825ECC08A2E}" dt="2022-11-12T18:33:17.937" v="932"/>
        <pc:sldMkLst>
          <pc:docMk/>
          <pc:sldMk cId="2035104603" sldId="995"/>
        </pc:sldMkLst>
      </pc:sldChg>
      <pc:sldChg chg="add">
        <pc:chgData name="Yaroslav Zhydyk" userId="feca11449df7c5ed" providerId="LiveId" clId="{DEB4F5E9-665E-474A-A1DA-C825ECC08A2E}" dt="2022-11-12T18:33:17.937" v="932"/>
        <pc:sldMkLst>
          <pc:docMk/>
          <pc:sldMk cId="4281438087" sldId="1001"/>
        </pc:sldMkLst>
      </pc:sldChg>
      <pc:sldChg chg="modSp add del mod">
        <pc:chgData name="Yaroslav Zhydyk" userId="feca11449df7c5ed" providerId="LiveId" clId="{DEB4F5E9-665E-474A-A1DA-C825ECC08A2E}" dt="2022-11-12T16:18:13.577" v="148" actId="47"/>
        <pc:sldMkLst>
          <pc:docMk/>
          <pc:sldMk cId="1283829799" sldId="1015"/>
        </pc:sldMkLst>
        <pc:spChg chg="mod">
          <ac:chgData name="Yaroslav Zhydyk" userId="feca11449df7c5ed" providerId="LiveId" clId="{DEB4F5E9-665E-474A-A1DA-C825ECC08A2E}" dt="2022-11-12T16:18:08.340" v="147" actId="20577"/>
          <ac:spMkLst>
            <pc:docMk/>
            <pc:sldMk cId="1283829799" sldId="1015"/>
            <ac:spMk id="14" creationId="{A14FE9C0-B3BB-4470-824A-5C18DF861D38}"/>
          </ac:spMkLst>
        </pc:spChg>
      </pc:sldChg>
      <pc:sldChg chg="add del">
        <pc:chgData name="Yaroslav Zhydyk" userId="feca11449df7c5ed" providerId="LiveId" clId="{DEB4F5E9-665E-474A-A1DA-C825ECC08A2E}" dt="2022-11-12T16:18:58.411" v="158" actId="47"/>
        <pc:sldMkLst>
          <pc:docMk/>
          <pc:sldMk cId="260590972" sldId="1016"/>
        </pc:sldMkLst>
      </pc:sldChg>
      <pc:sldChg chg="add del">
        <pc:chgData name="Yaroslav Zhydyk" userId="feca11449df7c5ed" providerId="LiveId" clId="{DEB4F5E9-665E-474A-A1DA-C825ECC08A2E}" dt="2022-11-12T16:22:18.461" v="232" actId="47"/>
        <pc:sldMkLst>
          <pc:docMk/>
          <pc:sldMk cId="3905265914" sldId="1017"/>
        </pc:sldMkLst>
      </pc:sldChg>
      <pc:sldChg chg="add del ord">
        <pc:chgData name="Yaroslav Zhydyk" userId="feca11449df7c5ed" providerId="LiveId" clId="{DEB4F5E9-665E-474A-A1DA-C825ECC08A2E}" dt="2022-11-12T16:27:19.631" v="291" actId="47"/>
        <pc:sldMkLst>
          <pc:docMk/>
          <pc:sldMk cId="4161026824" sldId="1032"/>
        </pc:sldMkLst>
      </pc:sldChg>
      <pc:sldChg chg="addSp delSp modSp add mod modClrScheme chgLayout">
        <pc:chgData name="Yaroslav Zhydyk" userId="feca11449df7c5ed" providerId="LiveId" clId="{DEB4F5E9-665E-474A-A1DA-C825ECC08A2E}" dt="2022-11-12T16:31:53.238" v="341"/>
        <pc:sldMkLst>
          <pc:docMk/>
          <pc:sldMk cId="1432417018" sldId="1033"/>
        </pc:sldMkLst>
        <pc:spChg chg="add mod ord">
          <ac:chgData name="Yaroslav Zhydyk" userId="feca11449df7c5ed" providerId="LiveId" clId="{DEB4F5E9-665E-474A-A1DA-C825ECC08A2E}" dt="2022-11-12T16:29:00.894" v="305" actId="207"/>
          <ac:spMkLst>
            <pc:docMk/>
            <pc:sldMk cId="1432417018" sldId="1033"/>
            <ac:spMk id="2" creationId="{B98A5077-16B2-5216-7BF4-892A3FC6E796}"/>
          </ac:spMkLst>
        </pc:spChg>
        <pc:spChg chg="add mod">
          <ac:chgData name="Yaroslav Zhydyk" userId="feca11449df7c5ed" providerId="LiveId" clId="{DEB4F5E9-665E-474A-A1DA-C825ECC08A2E}" dt="2022-11-12T16:31:53.238" v="341"/>
          <ac:spMkLst>
            <pc:docMk/>
            <pc:sldMk cId="1432417018" sldId="1033"/>
            <ac:spMk id="5" creationId="{601B9A5A-FF46-9A85-E150-79C4B28E8C0E}"/>
          </ac:spMkLst>
        </pc:spChg>
        <pc:spChg chg="mod">
          <ac:chgData name="Yaroslav Zhydyk" userId="feca11449df7c5ed" providerId="LiveId" clId="{DEB4F5E9-665E-474A-A1DA-C825ECC08A2E}" dt="2022-11-12T16:30:40.365" v="326" actId="207"/>
          <ac:spMkLst>
            <pc:docMk/>
            <pc:sldMk cId="1432417018" sldId="1033"/>
            <ac:spMk id="14" creationId="{A14FE9C0-B3BB-4470-824A-5C18DF861D38}"/>
          </ac:spMkLst>
        </pc:spChg>
        <pc:spChg chg="del mod">
          <ac:chgData name="Yaroslav Zhydyk" userId="feca11449df7c5ed" providerId="LiveId" clId="{DEB4F5E9-665E-474A-A1DA-C825ECC08A2E}" dt="2022-11-12T16:28:55.450" v="303" actId="478"/>
          <ac:spMkLst>
            <pc:docMk/>
            <pc:sldMk cId="1432417018" sldId="1033"/>
            <ac:spMk id="15" creationId="{5F387E7A-D543-4DE2-AB7F-AEFE678DFCD4}"/>
          </ac:spMkLst>
        </pc:spChg>
        <pc:picChg chg="add mod">
          <ac:chgData name="Yaroslav Zhydyk" userId="feca11449df7c5ed" providerId="LiveId" clId="{DEB4F5E9-665E-474A-A1DA-C825ECC08A2E}" dt="2022-11-12T16:30:36.260" v="325" actId="1076"/>
          <ac:picMkLst>
            <pc:docMk/>
            <pc:sldMk cId="1432417018" sldId="1033"/>
            <ac:picMk id="4" creationId="{3AE2328E-6DFF-62E1-016B-39C6FB1FD100}"/>
          </ac:picMkLst>
        </pc:picChg>
      </pc:sldChg>
      <pc:sldChg chg="add del">
        <pc:chgData name="Yaroslav Zhydyk" userId="feca11449df7c5ed" providerId="LiveId" clId="{DEB4F5E9-665E-474A-A1DA-C825ECC08A2E}" dt="2022-11-12T16:32:30.782" v="349" actId="47"/>
        <pc:sldMkLst>
          <pc:docMk/>
          <pc:sldMk cId="2905497493" sldId="1039"/>
        </pc:sldMkLst>
      </pc:sldChg>
      <pc:sldChg chg="addSp modSp add del modAnim">
        <pc:chgData name="Yaroslav Zhydyk" userId="feca11449df7c5ed" providerId="LiveId" clId="{DEB4F5E9-665E-474A-A1DA-C825ECC08A2E}" dt="2022-11-12T16:34:32.190" v="393" actId="47"/>
        <pc:sldMkLst>
          <pc:docMk/>
          <pc:sldMk cId="267239163" sldId="1040"/>
        </pc:sldMkLst>
        <pc:spChg chg="add mod">
          <ac:chgData name="Yaroslav Zhydyk" userId="feca11449df7c5ed" providerId="LiveId" clId="{DEB4F5E9-665E-474A-A1DA-C825ECC08A2E}" dt="2022-11-12T16:34:23.204" v="387"/>
          <ac:spMkLst>
            <pc:docMk/>
            <pc:sldMk cId="267239163" sldId="1040"/>
            <ac:spMk id="6" creationId="{907A9B42-F65C-9FC2-48CE-3040A156542A}"/>
          </ac:spMkLst>
        </pc:spChg>
        <pc:spChg chg="add mod">
          <ac:chgData name="Yaroslav Zhydyk" userId="feca11449df7c5ed" providerId="LiveId" clId="{DEB4F5E9-665E-474A-A1DA-C825ECC08A2E}" dt="2022-11-12T16:34:23.204" v="387"/>
          <ac:spMkLst>
            <pc:docMk/>
            <pc:sldMk cId="267239163" sldId="1040"/>
            <ac:spMk id="10" creationId="{86F8AAED-44CA-2C1E-0231-D65E9FD4D23B}"/>
          </ac:spMkLst>
        </pc:spChg>
        <pc:spChg chg="add mod">
          <ac:chgData name="Yaroslav Zhydyk" userId="feca11449df7c5ed" providerId="LiveId" clId="{DEB4F5E9-665E-474A-A1DA-C825ECC08A2E}" dt="2022-11-12T16:34:23.204" v="387"/>
          <ac:spMkLst>
            <pc:docMk/>
            <pc:sldMk cId="267239163" sldId="1040"/>
            <ac:spMk id="13" creationId="{CDED9713-B890-5A21-CF64-9189F8BDC27E}"/>
          </ac:spMkLst>
        </pc:spChg>
        <pc:spChg chg="add mod">
          <ac:chgData name="Yaroslav Zhydyk" userId="feca11449df7c5ed" providerId="LiveId" clId="{DEB4F5E9-665E-474A-A1DA-C825ECC08A2E}" dt="2022-11-12T16:34:23.204" v="387"/>
          <ac:spMkLst>
            <pc:docMk/>
            <pc:sldMk cId="267239163" sldId="1040"/>
            <ac:spMk id="15" creationId="{49E94D02-F03F-6C68-ADAD-74DC051AD5FF}"/>
          </ac:spMkLst>
        </pc:spChg>
        <pc:spChg chg="mod">
          <ac:chgData name="Yaroslav Zhydyk" userId="feca11449df7c5ed" providerId="LiveId" clId="{DEB4F5E9-665E-474A-A1DA-C825ECC08A2E}" dt="2022-11-12T16:34:23.204" v="387"/>
          <ac:spMkLst>
            <pc:docMk/>
            <pc:sldMk cId="267239163" sldId="1040"/>
            <ac:spMk id="18" creationId="{F2639FE9-CF81-98F2-8B25-D9C8B3E17416}"/>
          </ac:spMkLst>
        </pc:spChg>
        <pc:spChg chg="mod">
          <ac:chgData name="Yaroslav Zhydyk" userId="feca11449df7c5ed" providerId="LiveId" clId="{DEB4F5E9-665E-474A-A1DA-C825ECC08A2E}" dt="2022-11-12T16:34:23.204" v="387"/>
          <ac:spMkLst>
            <pc:docMk/>
            <pc:sldMk cId="267239163" sldId="1040"/>
            <ac:spMk id="21" creationId="{A8F57A5E-4A73-AC8A-9A96-76A1B20E6058}"/>
          </ac:spMkLst>
        </pc:spChg>
        <pc:spChg chg="add mod">
          <ac:chgData name="Yaroslav Zhydyk" userId="feca11449df7c5ed" providerId="LiveId" clId="{DEB4F5E9-665E-474A-A1DA-C825ECC08A2E}" dt="2022-11-12T16:34:23.204" v="387"/>
          <ac:spMkLst>
            <pc:docMk/>
            <pc:sldMk cId="267239163" sldId="1040"/>
            <ac:spMk id="22" creationId="{63833316-BEA6-B689-685A-1EC407E39FB0}"/>
          </ac:spMkLst>
        </pc:spChg>
        <pc:spChg chg="mod">
          <ac:chgData name="Yaroslav Zhydyk" userId="feca11449df7c5ed" providerId="LiveId" clId="{DEB4F5E9-665E-474A-A1DA-C825ECC08A2E}" dt="2022-11-12T16:34:05.663" v="376" actId="164"/>
          <ac:spMkLst>
            <pc:docMk/>
            <pc:sldMk cId="267239163" sldId="1040"/>
            <ac:spMk id="23" creationId="{1C3216E2-B27D-4ECC-B5B7-656101BA5E02}"/>
          </ac:spMkLst>
        </pc:spChg>
        <pc:spChg chg="mod">
          <ac:chgData name="Yaroslav Zhydyk" userId="feca11449df7c5ed" providerId="LiveId" clId="{DEB4F5E9-665E-474A-A1DA-C825ECC08A2E}" dt="2022-11-12T16:34:23.908" v="388" actId="164"/>
          <ac:spMkLst>
            <pc:docMk/>
            <pc:sldMk cId="267239163" sldId="1040"/>
            <ac:spMk id="24" creationId="{06D75394-565E-4612-AB9C-A5585B1721C6}"/>
          </ac:spMkLst>
        </pc:spChg>
        <pc:spChg chg="mod">
          <ac:chgData name="Yaroslav Zhydyk" userId="feca11449df7c5ed" providerId="LiveId" clId="{DEB4F5E9-665E-474A-A1DA-C825ECC08A2E}" dt="2022-11-12T16:34:05.663" v="376" actId="164"/>
          <ac:spMkLst>
            <pc:docMk/>
            <pc:sldMk cId="267239163" sldId="1040"/>
            <ac:spMk id="26" creationId="{50FDB328-4F1E-4236-9286-F431203845DD}"/>
          </ac:spMkLst>
        </pc:spChg>
        <pc:spChg chg="mod">
          <ac:chgData name="Yaroslav Zhydyk" userId="feca11449df7c5ed" providerId="LiveId" clId="{DEB4F5E9-665E-474A-A1DA-C825ECC08A2E}" dt="2022-11-12T16:34:23.908" v="388" actId="164"/>
          <ac:spMkLst>
            <pc:docMk/>
            <pc:sldMk cId="267239163" sldId="1040"/>
            <ac:spMk id="27" creationId="{35A42742-1DE5-4348-85CC-9A5DC10DF1D4}"/>
          </ac:spMkLst>
        </pc:spChg>
        <pc:spChg chg="add mod">
          <ac:chgData name="Yaroslav Zhydyk" userId="feca11449df7c5ed" providerId="LiveId" clId="{DEB4F5E9-665E-474A-A1DA-C825ECC08A2E}" dt="2022-11-12T16:34:23.204" v="387"/>
          <ac:spMkLst>
            <pc:docMk/>
            <pc:sldMk cId="267239163" sldId="1040"/>
            <ac:spMk id="29" creationId="{F52FD2E6-21D8-F926-5E15-C6E5015F7339}"/>
          </ac:spMkLst>
        </pc:spChg>
        <pc:spChg chg="mod">
          <ac:chgData name="Yaroslav Zhydyk" userId="feca11449df7c5ed" providerId="LiveId" clId="{DEB4F5E9-665E-474A-A1DA-C825ECC08A2E}" dt="2022-11-12T16:34:05.663" v="376" actId="164"/>
          <ac:spMkLst>
            <pc:docMk/>
            <pc:sldMk cId="267239163" sldId="1040"/>
            <ac:spMk id="31" creationId="{4D423541-AF63-48D3-B4EF-CA6EB82FE23D}"/>
          </ac:spMkLst>
        </pc:spChg>
        <pc:spChg chg="mod">
          <ac:chgData name="Yaroslav Zhydyk" userId="feca11449df7c5ed" providerId="LiveId" clId="{DEB4F5E9-665E-474A-A1DA-C825ECC08A2E}" dt="2022-11-12T16:34:23.908" v="388" actId="164"/>
          <ac:spMkLst>
            <pc:docMk/>
            <pc:sldMk cId="267239163" sldId="1040"/>
            <ac:spMk id="32" creationId="{3E7D539C-FC7C-406F-8F0B-78F538D18CD2}"/>
          </ac:spMkLst>
        </pc:spChg>
        <pc:spChg chg="mod">
          <ac:chgData name="Yaroslav Zhydyk" userId="feca11449df7c5ed" providerId="LiveId" clId="{DEB4F5E9-665E-474A-A1DA-C825ECC08A2E}" dt="2022-11-12T16:34:05.663" v="376" actId="164"/>
          <ac:spMkLst>
            <pc:docMk/>
            <pc:sldMk cId="267239163" sldId="1040"/>
            <ac:spMk id="34" creationId="{E9A46905-F58D-431B-A49D-5D63B5222863}"/>
          </ac:spMkLst>
        </pc:spChg>
        <pc:spChg chg="mod">
          <ac:chgData name="Yaroslav Zhydyk" userId="feca11449df7c5ed" providerId="LiveId" clId="{DEB4F5E9-665E-474A-A1DA-C825ECC08A2E}" dt="2022-11-12T16:34:23.908" v="388" actId="164"/>
          <ac:spMkLst>
            <pc:docMk/>
            <pc:sldMk cId="267239163" sldId="1040"/>
            <ac:spMk id="35" creationId="{982FE80A-FA82-4A69-A4B4-B09BEE65291C}"/>
          </ac:spMkLst>
        </pc:spChg>
        <pc:spChg chg="mod">
          <ac:chgData name="Yaroslav Zhydyk" userId="feca11449df7c5ed" providerId="LiveId" clId="{DEB4F5E9-665E-474A-A1DA-C825ECC08A2E}" dt="2022-11-12T16:34:05.663" v="376" actId="164"/>
          <ac:spMkLst>
            <pc:docMk/>
            <pc:sldMk cId="267239163" sldId="1040"/>
            <ac:spMk id="39" creationId="{6DF13892-A8C9-45E6-A202-534D8360BC3E}"/>
          </ac:spMkLst>
        </pc:spChg>
        <pc:spChg chg="mod">
          <ac:chgData name="Yaroslav Zhydyk" userId="feca11449df7c5ed" providerId="LiveId" clId="{DEB4F5E9-665E-474A-A1DA-C825ECC08A2E}" dt="2022-11-12T16:34:05.663" v="376" actId="164"/>
          <ac:spMkLst>
            <pc:docMk/>
            <pc:sldMk cId="267239163" sldId="1040"/>
            <ac:spMk id="40" creationId="{5ECF18E4-11A2-4DDF-9368-655A57E1CF65}"/>
          </ac:spMkLst>
        </pc:spChg>
        <pc:spChg chg="mod">
          <ac:chgData name="Yaroslav Zhydyk" userId="feca11449df7c5ed" providerId="LiveId" clId="{DEB4F5E9-665E-474A-A1DA-C825ECC08A2E}" dt="2022-11-12T16:34:05.663" v="376" actId="164"/>
          <ac:spMkLst>
            <pc:docMk/>
            <pc:sldMk cId="267239163" sldId="1040"/>
            <ac:spMk id="44" creationId="{67252E8F-FCF8-4E56-9395-791EFA7D6278}"/>
          </ac:spMkLst>
        </pc:spChg>
        <pc:spChg chg="add mod">
          <ac:chgData name="Yaroslav Zhydyk" userId="feca11449df7c5ed" providerId="LiveId" clId="{DEB4F5E9-665E-474A-A1DA-C825ECC08A2E}" dt="2022-11-12T16:34:23.204" v="387"/>
          <ac:spMkLst>
            <pc:docMk/>
            <pc:sldMk cId="267239163" sldId="1040"/>
            <ac:spMk id="45" creationId="{0167FCA8-B2D0-8969-FB79-4531A22A5260}"/>
          </ac:spMkLst>
        </pc:spChg>
        <pc:spChg chg="mod">
          <ac:chgData name="Yaroslav Zhydyk" userId="feca11449df7c5ed" providerId="LiveId" clId="{DEB4F5E9-665E-474A-A1DA-C825ECC08A2E}" dt="2022-11-12T16:34:05.663" v="376" actId="164"/>
          <ac:spMkLst>
            <pc:docMk/>
            <pc:sldMk cId="267239163" sldId="1040"/>
            <ac:spMk id="46" creationId="{BB42F8E1-0636-4170-8FD5-35E3B87AEDA1}"/>
          </ac:spMkLst>
        </pc:spChg>
        <pc:spChg chg="mod">
          <ac:chgData name="Yaroslav Zhydyk" userId="feca11449df7c5ed" providerId="LiveId" clId="{DEB4F5E9-665E-474A-A1DA-C825ECC08A2E}" dt="2022-11-12T16:34:05.663" v="376" actId="164"/>
          <ac:spMkLst>
            <pc:docMk/>
            <pc:sldMk cId="267239163" sldId="1040"/>
            <ac:spMk id="47" creationId="{D85629E5-339C-45FD-A9ED-8A90A04F9C5C}"/>
          </ac:spMkLst>
        </pc:spChg>
        <pc:spChg chg="add mod">
          <ac:chgData name="Yaroslav Zhydyk" userId="feca11449df7c5ed" providerId="LiveId" clId="{DEB4F5E9-665E-474A-A1DA-C825ECC08A2E}" dt="2022-11-12T16:34:23.204" v="387"/>
          <ac:spMkLst>
            <pc:docMk/>
            <pc:sldMk cId="267239163" sldId="1040"/>
            <ac:spMk id="50" creationId="{8DAD1606-90FC-95A3-788F-35FD8BAB1E49}"/>
          </ac:spMkLst>
        </pc:spChg>
        <pc:spChg chg="mod">
          <ac:chgData name="Yaroslav Zhydyk" userId="feca11449df7c5ed" providerId="LiveId" clId="{DEB4F5E9-665E-474A-A1DA-C825ECC08A2E}" dt="2022-11-12T16:34:23.908" v="388" actId="164"/>
          <ac:spMkLst>
            <pc:docMk/>
            <pc:sldMk cId="267239163" sldId="1040"/>
            <ac:spMk id="52" creationId="{A0B65877-8364-451F-AA89-F965B015FA7F}"/>
          </ac:spMkLst>
        </pc:spChg>
        <pc:spChg chg="mod">
          <ac:chgData name="Yaroslav Zhydyk" userId="feca11449df7c5ed" providerId="LiveId" clId="{DEB4F5E9-665E-474A-A1DA-C825ECC08A2E}" dt="2022-11-12T16:34:23.908" v="388" actId="164"/>
          <ac:spMkLst>
            <pc:docMk/>
            <pc:sldMk cId="267239163" sldId="1040"/>
            <ac:spMk id="53" creationId="{798FB441-D8A7-4CB1-B0E4-A5AF83F614FD}"/>
          </ac:spMkLst>
        </pc:spChg>
        <pc:spChg chg="add mod">
          <ac:chgData name="Yaroslav Zhydyk" userId="feca11449df7c5ed" providerId="LiveId" clId="{DEB4F5E9-665E-474A-A1DA-C825ECC08A2E}" dt="2022-11-12T16:34:23.204" v="387"/>
          <ac:spMkLst>
            <pc:docMk/>
            <pc:sldMk cId="267239163" sldId="1040"/>
            <ac:spMk id="54" creationId="{6328DE3A-A563-753A-4052-0DAB35805FDE}"/>
          </ac:spMkLst>
        </pc:spChg>
        <pc:spChg chg="add mod">
          <ac:chgData name="Yaroslav Zhydyk" userId="feca11449df7c5ed" providerId="LiveId" clId="{DEB4F5E9-665E-474A-A1DA-C825ECC08A2E}" dt="2022-11-12T16:34:23.204" v="387"/>
          <ac:spMkLst>
            <pc:docMk/>
            <pc:sldMk cId="267239163" sldId="1040"/>
            <ac:spMk id="55" creationId="{231FA75C-A89B-EA97-BD68-80F7DF89DA6E}"/>
          </ac:spMkLst>
        </pc:spChg>
        <pc:spChg chg="mod">
          <ac:chgData name="Yaroslav Zhydyk" userId="feca11449df7c5ed" providerId="LiveId" clId="{DEB4F5E9-665E-474A-A1DA-C825ECC08A2E}" dt="2022-11-12T16:34:23.908" v="388" actId="164"/>
          <ac:spMkLst>
            <pc:docMk/>
            <pc:sldMk cId="267239163" sldId="1040"/>
            <ac:spMk id="56" creationId="{A3F2B2DD-6B11-42DB-966E-F494607915FA}"/>
          </ac:spMkLst>
        </pc:spChg>
        <pc:spChg chg="mod">
          <ac:chgData name="Yaroslav Zhydyk" userId="feca11449df7c5ed" providerId="LiveId" clId="{DEB4F5E9-665E-474A-A1DA-C825ECC08A2E}" dt="2022-11-12T16:34:23.908" v="388" actId="164"/>
          <ac:spMkLst>
            <pc:docMk/>
            <pc:sldMk cId="267239163" sldId="1040"/>
            <ac:spMk id="57" creationId="{5BBBB632-3EDB-4B94-B616-C20153C84738}"/>
          </ac:spMkLst>
        </pc:spChg>
        <pc:spChg chg="add mod">
          <ac:chgData name="Yaroslav Zhydyk" userId="feca11449df7c5ed" providerId="LiveId" clId="{DEB4F5E9-665E-474A-A1DA-C825ECC08A2E}" dt="2022-11-12T16:34:23.204" v="387"/>
          <ac:spMkLst>
            <pc:docMk/>
            <pc:sldMk cId="267239163" sldId="1040"/>
            <ac:spMk id="58" creationId="{41E3DAA9-1849-6966-2491-8DEEAA740D6E}"/>
          </ac:spMkLst>
        </pc:spChg>
        <pc:spChg chg="add mod">
          <ac:chgData name="Yaroslav Zhydyk" userId="feca11449df7c5ed" providerId="LiveId" clId="{DEB4F5E9-665E-474A-A1DA-C825ECC08A2E}" dt="2022-11-12T16:34:23.204" v="387"/>
          <ac:spMkLst>
            <pc:docMk/>
            <pc:sldMk cId="267239163" sldId="1040"/>
            <ac:spMk id="59" creationId="{5ABF443C-2486-3A85-1248-B2DA17F2F97F}"/>
          </ac:spMkLst>
        </pc:spChg>
        <pc:spChg chg="mod">
          <ac:chgData name="Yaroslav Zhydyk" userId="feca11449df7c5ed" providerId="LiveId" clId="{DEB4F5E9-665E-474A-A1DA-C825ECC08A2E}" dt="2022-11-12T16:34:23.908" v="388" actId="164"/>
          <ac:spMkLst>
            <pc:docMk/>
            <pc:sldMk cId="267239163" sldId="1040"/>
            <ac:spMk id="60" creationId="{31493C8D-D69E-441A-AC5B-AB137A28BB7E}"/>
          </ac:spMkLst>
        </pc:spChg>
        <pc:spChg chg="mod">
          <ac:chgData name="Yaroslav Zhydyk" userId="feca11449df7c5ed" providerId="LiveId" clId="{DEB4F5E9-665E-474A-A1DA-C825ECC08A2E}" dt="2022-11-12T16:34:23.908" v="388" actId="164"/>
          <ac:spMkLst>
            <pc:docMk/>
            <pc:sldMk cId="267239163" sldId="1040"/>
            <ac:spMk id="61" creationId="{AE3D5FEB-AA3E-445F-9A62-95FFD4B7AC6D}"/>
          </ac:spMkLst>
        </pc:spChg>
        <pc:spChg chg="add mod">
          <ac:chgData name="Yaroslav Zhydyk" userId="feca11449df7c5ed" providerId="LiveId" clId="{DEB4F5E9-665E-474A-A1DA-C825ECC08A2E}" dt="2022-11-12T16:34:23.204" v="387"/>
          <ac:spMkLst>
            <pc:docMk/>
            <pc:sldMk cId="267239163" sldId="1040"/>
            <ac:spMk id="62" creationId="{EA92ED7C-C933-36B3-2B30-C3A3E2A03727}"/>
          </ac:spMkLst>
        </pc:spChg>
        <pc:spChg chg="add mod">
          <ac:chgData name="Yaroslav Zhydyk" userId="feca11449df7c5ed" providerId="LiveId" clId="{DEB4F5E9-665E-474A-A1DA-C825ECC08A2E}" dt="2022-11-12T16:34:23.204" v="387"/>
          <ac:spMkLst>
            <pc:docMk/>
            <pc:sldMk cId="267239163" sldId="1040"/>
            <ac:spMk id="63" creationId="{DFCDDA14-6DB0-08E8-35E5-68CC2FEBD879}"/>
          </ac:spMkLst>
        </pc:spChg>
        <pc:spChg chg="mod">
          <ac:chgData name="Yaroslav Zhydyk" userId="feca11449df7c5ed" providerId="LiveId" clId="{DEB4F5E9-665E-474A-A1DA-C825ECC08A2E}" dt="2022-11-12T16:34:23.908" v="388" actId="164"/>
          <ac:spMkLst>
            <pc:docMk/>
            <pc:sldMk cId="267239163" sldId="1040"/>
            <ac:spMk id="64" creationId="{0CEA7B0E-BEB3-4582-97E1-E0368F58BF21}"/>
          </ac:spMkLst>
        </pc:spChg>
        <pc:spChg chg="mod">
          <ac:chgData name="Yaroslav Zhydyk" userId="feca11449df7c5ed" providerId="LiveId" clId="{DEB4F5E9-665E-474A-A1DA-C825ECC08A2E}" dt="2022-11-12T16:34:23.908" v="388" actId="164"/>
          <ac:spMkLst>
            <pc:docMk/>
            <pc:sldMk cId="267239163" sldId="1040"/>
            <ac:spMk id="65" creationId="{3D28A6F2-8407-4B9C-88AA-58FF69572D8C}"/>
          </ac:spMkLst>
        </pc:spChg>
        <pc:spChg chg="add mod">
          <ac:chgData name="Yaroslav Zhydyk" userId="feca11449df7c5ed" providerId="LiveId" clId="{DEB4F5E9-665E-474A-A1DA-C825ECC08A2E}" dt="2022-11-12T16:34:23.204" v="387"/>
          <ac:spMkLst>
            <pc:docMk/>
            <pc:sldMk cId="267239163" sldId="1040"/>
            <ac:spMk id="66" creationId="{D220EE83-96C3-550C-2489-78D662861C27}"/>
          </ac:spMkLst>
        </pc:spChg>
        <pc:spChg chg="add mod">
          <ac:chgData name="Yaroslav Zhydyk" userId="feca11449df7c5ed" providerId="LiveId" clId="{DEB4F5E9-665E-474A-A1DA-C825ECC08A2E}" dt="2022-11-12T16:34:23.204" v="387"/>
          <ac:spMkLst>
            <pc:docMk/>
            <pc:sldMk cId="267239163" sldId="1040"/>
            <ac:spMk id="67" creationId="{5AECA3FE-E4B7-8AE5-AE07-62D3103EF9C5}"/>
          </ac:spMkLst>
        </pc:spChg>
        <pc:spChg chg="mod">
          <ac:chgData name="Yaroslav Zhydyk" userId="feca11449df7c5ed" providerId="LiveId" clId="{DEB4F5E9-665E-474A-A1DA-C825ECC08A2E}" dt="2022-11-12T16:34:23.908" v="388" actId="164"/>
          <ac:spMkLst>
            <pc:docMk/>
            <pc:sldMk cId="267239163" sldId="1040"/>
            <ac:spMk id="68" creationId="{5698800E-65C1-4A42-8EDF-1626E9CE9E52}"/>
          </ac:spMkLst>
        </pc:spChg>
        <pc:spChg chg="mod">
          <ac:chgData name="Yaroslav Zhydyk" userId="feca11449df7c5ed" providerId="LiveId" clId="{DEB4F5E9-665E-474A-A1DA-C825ECC08A2E}" dt="2022-11-12T16:34:23.908" v="388" actId="164"/>
          <ac:spMkLst>
            <pc:docMk/>
            <pc:sldMk cId="267239163" sldId="1040"/>
            <ac:spMk id="69" creationId="{CE4513D6-EAE8-47DA-841E-45C365A55292}"/>
          </ac:spMkLst>
        </pc:spChg>
        <pc:spChg chg="add mod">
          <ac:chgData name="Yaroslav Zhydyk" userId="feca11449df7c5ed" providerId="LiveId" clId="{DEB4F5E9-665E-474A-A1DA-C825ECC08A2E}" dt="2022-11-12T16:34:23.204" v="387"/>
          <ac:spMkLst>
            <pc:docMk/>
            <pc:sldMk cId="267239163" sldId="1040"/>
            <ac:spMk id="70" creationId="{18A805BA-2050-D862-5D6D-63FEC31E614C}"/>
          </ac:spMkLst>
        </pc:spChg>
        <pc:spChg chg="add mod">
          <ac:chgData name="Yaroslav Zhydyk" userId="feca11449df7c5ed" providerId="LiveId" clId="{DEB4F5E9-665E-474A-A1DA-C825ECC08A2E}" dt="2022-11-12T16:34:23.204" v="387"/>
          <ac:spMkLst>
            <pc:docMk/>
            <pc:sldMk cId="267239163" sldId="1040"/>
            <ac:spMk id="71" creationId="{7D4696B7-918A-5ED1-EC47-1524F62B20A1}"/>
          </ac:spMkLst>
        </pc:spChg>
        <pc:spChg chg="mod">
          <ac:chgData name="Yaroslav Zhydyk" userId="feca11449df7c5ed" providerId="LiveId" clId="{DEB4F5E9-665E-474A-A1DA-C825ECC08A2E}" dt="2022-11-12T16:34:23.908" v="388" actId="164"/>
          <ac:spMkLst>
            <pc:docMk/>
            <pc:sldMk cId="267239163" sldId="1040"/>
            <ac:spMk id="72" creationId="{171969CB-4CD6-4A17-9983-F6B3DF6E7787}"/>
          </ac:spMkLst>
        </pc:spChg>
        <pc:spChg chg="mod">
          <ac:chgData name="Yaroslav Zhydyk" userId="feca11449df7c5ed" providerId="LiveId" clId="{DEB4F5E9-665E-474A-A1DA-C825ECC08A2E}" dt="2022-11-12T16:34:23.908" v="388" actId="164"/>
          <ac:spMkLst>
            <pc:docMk/>
            <pc:sldMk cId="267239163" sldId="1040"/>
            <ac:spMk id="73" creationId="{82F6AC57-FAD6-45FF-BFD5-4FF9C907E3FC}"/>
          </ac:spMkLst>
        </pc:spChg>
        <pc:spChg chg="add mod">
          <ac:chgData name="Yaroslav Zhydyk" userId="feca11449df7c5ed" providerId="LiveId" clId="{DEB4F5E9-665E-474A-A1DA-C825ECC08A2E}" dt="2022-11-12T16:34:23.204" v="387"/>
          <ac:spMkLst>
            <pc:docMk/>
            <pc:sldMk cId="267239163" sldId="1040"/>
            <ac:spMk id="74" creationId="{FA306979-B76F-588D-72E8-1A2A32108F37}"/>
          </ac:spMkLst>
        </pc:spChg>
        <pc:spChg chg="add mod">
          <ac:chgData name="Yaroslav Zhydyk" userId="feca11449df7c5ed" providerId="LiveId" clId="{DEB4F5E9-665E-474A-A1DA-C825ECC08A2E}" dt="2022-11-12T16:34:23.204" v="387"/>
          <ac:spMkLst>
            <pc:docMk/>
            <pc:sldMk cId="267239163" sldId="1040"/>
            <ac:spMk id="75" creationId="{B6BE3253-2A81-4103-635B-74365FA433CA}"/>
          </ac:spMkLst>
        </pc:spChg>
        <pc:spChg chg="mod">
          <ac:chgData name="Yaroslav Zhydyk" userId="feca11449df7c5ed" providerId="LiveId" clId="{DEB4F5E9-665E-474A-A1DA-C825ECC08A2E}" dt="2022-11-12T16:34:23.908" v="388" actId="164"/>
          <ac:spMkLst>
            <pc:docMk/>
            <pc:sldMk cId="267239163" sldId="1040"/>
            <ac:spMk id="76" creationId="{C3C3893A-D193-4E58-BC74-DC497BF834A4}"/>
          </ac:spMkLst>
        </pc:spChg>
        <pc:spChg chg="mod">
          <ac:chgData name="Yaroslav Zhydyk" userId="feca11449df7c5ed" providerId="LiveId" clId="{DEB4F5E9-665E-474A-A1DA-C825ECC08A2E}" dt="2022-11-12T16:34:23.908" v="388" actId="164"/>
          <ac:spMkLst>
            <pc:docMk/>
            <pc:sldMk cId="267239163" sldId="1040"/>
            <ac:spMk id="77" creationId="{33B2BE13-4E01-4C1C-B092-9852F85EB624}"/>
          </ac:spMkLst>
        </pc:spChg>
        <pc:spChg chg="mod">
          <ac:chgData name="Yaroslav Zhydyk" userId="feca11449df7c5ed" providerId="LiveId" clId="{DEB4F5E9-665E-474A-A1DA-C825ECC08A2E}" dt="2022-11-12T16:34:23.908" v="388" actId="164"/>
          <ac:spMkLst>
            <pc:docMk/>
            <pc:sldMk cId="267239163" sldId="1040"/>
            <ac:spMk id="80" creationId="{60CD7E3E-8455-488F-88EE-4E8356A5835F}"/>
          </ac:spMkLst>
        </pc:spChg>
        <pc:spChg chg="mod">
          <ac:chgData name="Yaroslav Zhydyk" userId="feca11449df7c5ed" providerId="LiveId" clId="{DEB4F5E9-665E-474A-A1DA-C825ECC08A2E}" dt="2022-11-12T16:34:23.908" v="388" actId="164"/>
          <ac:spMkLst>
            <pc:docMk/>
            <pc:sldMk cId="267239163" sldId="1040"/>
            <ac:spMk id="81" creationId="{7079C891-8722-406F-8478-3055B57CF29F}"/>
          </ac:spMkLst>
        </pc:spChg>
        <pc:spChg chg="add mod">
          <ac:chgData name="Yaroslav Zhydyk" userId="feca11449df7c5ed" providerId="LiveId" clId="{DEB4F5E9-665E-474A-A1DA-C825ECC08A2E}" dt="2022-11-12T16:34:23.204" v="387"/>
          <ac:spMkLst>
            <pc:docMk/>
            <pc:sldMk cId="267239163" sldId="1040"/>
            <ac:spMk id="84" creationId="{6DDE54A7-91E4-7337-C18F-5AE4F5DF6E69}"/>
          </ac:spMkLst>
        </pc:spChg>
        <pc:spChg chg="mod">
          <ac:chgData name="Yaroslav Zhydyk" userId="feca11449df7c5ed" providerId="LiveId" clId="{DEB4F5E9-665E-474A-A1DA-C825ECC08A2E}" dt="2022-11-12T16:34:23.908" v="388" actId="164"/>
          <ac:spMkLst>
            <pc:docMk/>
            <pc:sldMk cId="267239163" sldId="1040"/>
            <ac:spMk id="85" creationId="{9771A37D-212A-4E23-84F6-50FEB8D2722D}"/>
          </ac:spMkLst>
        </pc:spChg>
        <pc:spChg chg="add mod">
          <ac:chgData name="Yaroslav Zhydyk" userId="feca11449df7c5ed" providerId="LiveId" clId="{DEB4F5E9-665E-474A-A1DA-C825ECC08A2E}" dt="2022-11-12T16:34:23.204" v="387"/>
          <ac:spMkLst>
            <pc:docMk/>
            <pc:sldMk cId="267239163" sldId="1040"/>
            <ac:spMk id="87" creationId="{F1DF451D-C543-983F-23A1-D9095A43349B}"/>
          </ac:spMkLst>
        </pc:spChg>
        <pc:spChg chg="mod">
          <ac:chgData name="Yaroslav Zhydyk" userId="feca11449df7c5ed" providerId="LiveId" clId="{DEB4F5E9-665E-474A-A1DA-C825ECC08A2E}" dt="2022-11-12T16:34:23.908" v="388" actId="164"/>
          <ac:spMkLst>
            <pc:docMk/>
            <pc:sldMk cId="267239163" sldId="1040"/>
            <ac:spMk id="88" creationId="{ACB1F9AA-5232-4E5C-BBA6-62F90A89FA9F}"/>
          </ac:spMkLst>
        </pc:spChg>
        <pc:spChg chg="mod">
          <ac:chgData name="Yaroslav Zhydyk" userId="feca11449df7c5ed" providerId="LiveId" clId="{DEB4F5E9-665E-474A-A1DA-C825ECC08A2E}" dt="2022-11-12T16:34:23.908" v="388" actId="164"/>
          <ac:spMkLst>
            <pc:docMk/>
            <pc:sldMk cId="267239163" sldId="1040"/>
            <ac:spMk id="89" creationId="{DDCBD6C7-8F02-4BD6-A0E5-EE805FDC7D59}"/>
          </ac:spMkLst>
        </pc:spChg>
        <pc:spChg chg="mod">
          <ac:chgData name="Yaroslav Zhydyk" userId="feca11449df7c5ed" providerId="LiveId" clId="{DEB4F5E9-665E-474A-A1DA-C825ECC08A2E}" dt="2022-11-12T16:34:23.908" v="388" actId="164"/>
          <ac:spMkLst>
            <pc:docMk/>
            <pc:sldMk cId="267239163" sldId="1040"/>
            <ac:spMk id="90" creationId="{AAE4E0CF-1CBD-4DF6-A5CC-A2CE1CC276FD}"/>
          </ac:spMkLst>
        </pc:spChg>
        <pc:spChg chg="mod">
          <ac:chgData name="Yaroslav Zhydyk" userId="feca11449df7c5ed" providerId="LiveId" clId="{DEB4F5E9-665E-474A-A1DA-C825ECC08A2E}" dt="2022-11-12T16:34:23.908" v="388" actId="164"/>
          <ac:spMkLst>
            <pc:docMk/>
            <pc:sldMk cId="267239163" sldId="1040"/>
            <ac:spMk id="91" creationId="{AEBA7886-E2BC-495C-9DA8-1D349731B134}"/>
          </ac:spMkLst>
        </pc:spChg>
        <pc:spChg chg="mod">
          <ac:chgData name="Yaroslav Zhydyk" userId="feca11449df7c5ed" providerId="LiveId" clId="{DEB4F5E9-665E-474A-A1DA-C825ECC08A2E}" dt="2022-11-12T16:34:23.908" v="388" actId="164"/>
          <ac:spMkLst>
            <pc:docMk/>
            <pc:sldMk cId="267239163" sldId="1040"/>
            <ac:spMk id="92" creationId="{BF2A603D-1F4D-430C-97B8-7579583BA84A}"/>
          </ac:spMkLst>
        </pc:spChg>
        <pc:spChg chg="mod">
          <ac:chgData name="Yaroslav Zhydyk" userId="feca11449df7c5ed" providerId="LiveId" clId="{DEB4F5E9-665E-474A-A1DA-C825ECC08A2E}" dt="2022-11-12T16:34:23.908" v="388" actId="164"/>
          <ac:spMkLst>
            <pc:docMk/>
            <pc:sldMk cId="267239163" sldId="1040"/>
            <ac:spMk id="93" creationId="{63B84352-03F0-49F7-A2DE-91B2E182C45E}"/>
          </ac:spMkLst>
        </pc:spChg>
        <pc:spChg chg="mod">
          <ac:chgData name="Yaroslav Zhydyk" userId="feca11449df7c5ed" providerId="LiveId" clId="{DEB4F5E9-665E-474A-A1DA-C825ECC08A2E}" dt="2022-11-12T16:34:23.908" v="388" actId="164"/>
          <ac:spMkLst>
            <pc:docMk/>
            <pc:sldMk cId="267239163" sldId="1040"/>
            <ac:spMk id="94" creationId="{A137A456-51B4-4A4D-83D7-867218B20637}"/>
          </ac:spMkLst>
        </pc:spChg>
        <pc:spChg chg="add mod">
          <ac:chgData name="Yaroslav Zhydyk" userId="feca11449df7c5ed" providerId="LiveId" clId="{DEB4F5E9-665E-474A-A1DA-C825ECC08A2E}" dt="2022-11-12T16:34:23.204" v="387"/>
          <ac:spMkLst>
            <pc:docMk/>
            <pc:sldMk cId="267239163" sldId="1040"/>
            <ac:spMk id="95" creationId="{0D2EE300-0237-4A49-B214-EF5BCD635D2F}"/>
          </ac:spMkLst>
        </pc:spChg>
        <pc:spChg chg="add mod">
          <ac:chgData name="Yaroslav Zhydyk" userId="feca11449df7c5ed" providerId="LiveId" clId="{DEB4F5E9-665E-474A-A1DA-C825ECC08A2E}" dt="2022-11-12T16:34:23.204" v="387"/>
          <ac:spMkLst>
            <pc:docMk/>
            <pc:sldMk cId="267239163" sldId="1040"/>
            <ac:spMk id="96" creationId="{FE4A5B4D-75DF-E722-1798-0BB957BFEAC9}"/>
          </ac:spMkLst>
        </pc:spChg>
        <pc:spChg chg="add mod">
          <ac:chgData name="Yaroslav Zhydyk" userId="feca11449df7c5ed" providerId="LiveId" clId="{DEB4F5E9-665E-474A-A1DA-C825ECC08A2E}" dt="2022-11-12T16:34:23.204" v="387"/>
          <ac:spMkLst>
            <pc:docMk/>
            <pc:sldMk cId="267239163" sldId="1040"/>
            <ac:spMk id="97" creationId="{E8F13F26-DA11-8B2B-5475-978CED9510CE}"/>
          </ac:spMkLst>
        </pc:spChg>
        <pc:spChg chg="add mod">
          <ac:chgData name="Yaroslav Zhydyk" userId="feca11449df7c5ed" providerId="LiveId" clId="{DEB4F5E9-665E-474A-A1DA-C825ECC08A2E}" dt="2022-11-12T16:34:23.204" v="387"/>
          <ac:spMkLst>
            <pc:docMk/>
            <pc:sldMk cId="267239163" sldId="1040"/>
            <ac:spMk id="98" creationId="{7A5DAB10-901B-CFF7-3491-ACA3B422EF80}"/>
          </ac:spMkLst>
        </pc:spChg>
        <pc:spChg chg="add mod">
          <ac:chgData name="Yaroslav Zhydyk" userId="feca11449df7c5ed" providerId="LiveId" clId="{DEB4F5E9-665E-474A-A1DA-C825ECC08A2E}" dt="2022-11-12T16:34:23.204" v="387"/>
          <ac:spMkLst>
            <pc:docMk/>
            <pc:sldMk cId="267239163" sldId="1040"/>
            <ac:spMk id="99" creationId="{E77B8C23-A4F1-7982-63D6-7246FB53F5C9}"/>
          </ac:spMkLst>
        </pc:spChg>
        <pc:spChg chg="add mod">
          <ac:chgData name="Yaroslav Zhydyk" userId="feca11449df7c5ed" providerId="LiveId" clId="{DEB4F5E9-665E-474A-A1DA-C825ECC08A2E}" dt="2022-11-12T16:34:23.204" v="387"/>
          <ac:spMkLst>
            <pc:docMk/>
            <pc:sldMk cId="267239163" sldId="1040"/>
            <ac:spMk id="100" creationId="{980F7C9D-8E0F-D765-6314-D5D3AEA5D9D6}"/>
          </ac:spMkLst>
        </pc:spChg>
        <pc:grpChg chg="add mod">
          <ac:chgData name="Yaroslav Zhydyk" userId="feca11449df7c5ed" providerId="LiveId" clId="{DEB4F5E9-665E-474A-A1DA-C825ECC08A2E}" dt="2022-11-12T16:34:05.663" v="376" actId="164"/>
          <ac:grpSpMkLst>
            <pc:docMk/>
            <pc:sldMk cId="267239163" sldId="1040"/>
            <ac:grpSpMk id="4" creationId="{9C0AD828-6B7E-4500-9955-5282302DE42E}"/>
          </ac:grpSpMkLst>
        </pc:grpChg>
        <pc:grpChg chg="mod">
          <ac:chgData name="Yaroslav Zhydyk" userId="feca11449df7c5ed" providerId="LiveId" clId="{DEB4F5E9-665E-474A-A1DA-C825ECC08A2E}" dt="2022-11-12T16:34:05.663" v="376" actId="164"/>
          <ac:grpSpMkLst>
            <pc:docMk/>
            <pc:sldMk cId="267239163" sldId="1040"/>
            <ac:grpSpMk id="12" creationId="{A5C37396-3913-482E-A88C-56A22E85CA47}"/>
          </ac:grpSpMkLst>
        </pc:grpChg>
        <pc:grpChg chg="mod">
          <ac:chgData name="Yaroslav Zhydyk" userId="feca11449df7c5ed" providerId="LiveId" clId="{DEB4F5E9-665E-474A-A1DA-C825ECC08A2E}" dt="2022-11-12T16:34:23.908" v="388" actId="164"/>
          <ac:grpSpMkLst>
            <pc:docMk/>
            <pc:sldMk cId="267239163" sldId="1040"/>
            <ac:grpSpMk id="14" creationId="{24537497-998A-4F29-AD34-40173A01E859}"/>
          </ac:grpSpMkLst>
        </pc:grpChg>
        <pc:grpChg chg="add mod">
          <ac:chgData name="Yaroslav Zhydyk" userId="feca11449df7c5ed" providerId="LiveId" clId="{DEB4F5E9-665E-474A-A1DA-C825ECC08A2E}" dt="2022-11-12T16:34:23.204" v="387"/>
          <ac:grpSpMkLst>
            <pc:docMk/>
            <pc:sldMk cId="267239163" sldId="1040"/>
            <ac:grpSpMk id="17" creationId="{0010B618-1B4F-6674-E2B9-E62B8F296EA4}"/>
          </ac:grpSpMkLst>
        </pc:grpChg>
        <pc:grpChg chg="mod">
          <ac:chgData name="Yaroslav Zhydyk" userId="feca11449df7c5ed" providerId="LiveId" clId="{DEB4F5E9-665E-474A-A1DA-C825ECC08A2E}" dt="2022-11-12T16:34:23.908" v="388" actId="164"/>
          <ac:grpSpMkLst>
            <pc:docMk/>
            <pc:sldMk cId="267239163" sldId="1040"/>
            <ac:grpSpMk id="19" creationId="{F7B5F66B-AB0B-4810-BD09-CFDCDC49E80E}"/>
          </ac:grpSpMkLst>
        </pc:grpChg>
        <pc:grpChg chg="add mod">
          <ac:chgData name="Yaroslav Zhydyk" userId="feca11449df7c5ed" providerId="LiveId" clId="{DEB4F5E9-665E-474A-A1DA-C825ECC08A2E}" dt="2022-11-12T16:34:23.204" v="387"/>
          <ac:grpSpMkLst>
            <pc:docMk/>
            <pc:sldMk cId="267239163" sldId="1040"/>
            <ac:grpSpMk id="78" creationId="{13D40144-B829-61CA-2975-40F046EA262B}"/>
          </ac:grpSpMkLst>
        </pc:grpChg>
        <pc:grpChg chg="add mod">
          <ac:chgData name="Yaroslav Zhydyk" userId="feca11449df7c5ed" providerId="LiveId" clId="{DEB4F5E9-665E-474A-A1DA-C825ECC08A2E}" dt="2022-11-12T16:34:23.908" v="388" actId="164"/>
          <ac:grpSpMkLst>
            <pc:docMk/>
            <pc:sldMk cId="267239163" sldId="1040"/>
            <ac:grpSpMk id="101" creationId="{8D13694B-0D6A-FC3B-C36D-697ED0CDF423}"/>
          </ac:grpSpMkLst>
        </pc:grpChg>
        <pc:cxnChg chg="mod">
          <ac:chgData name="Yaroslav Zhydyk" userId="feca11449df7c5ed" providerId="LiveId" clId="{DEB4F5E9-665E-474A-A1DA-C825ECC08A2E}" dt="2022-11-12T16:34:23.204" v="387"/>
          <ac:cxnSpMkLst>
            <pc:docMk/>
            <pc:sldMk cId="267239163" sldId="1040"/>
            <ac:cxnSpMk id="79" creationId="{9C47C699-E753-0C1C-8718-29C3EE10432C}"/>
          </ac:cxnSpMkLst>
        </pc:cxnChg>
        <pc:cxnChg chg="mod">
          <ac:chgData name="Yaroslav Zhydyk" userId="feca11449df7c5ed" providerId="LiveId" clId="{DEB4F5E9-665E-474A-A1DA-C825ECC08A2E}" dt="2022-11-12T16:34:23.204" v="387"/>
          <ac:cxnSpMkLst>
            <pc:docMk/>
            <pc:sldMk cId="267239163" sldId="1040"/>
            <ac:cxnSpMk id="82" creationId="{BAD80F29-83B8-EDF9-928A-582AB7DAB35E}"/>
          </ac:cxnSpMkLst>
        </pc:cxnChg>
      </pc:sldChg>
      <pc:sldChg chg="add ord">
        <pc:chgData name="Yaroslav Zhydyk" userId="feca11449df7c5ed" providerId="LiveId" clId="{DEB4F5E9-665E-474A-A1DA-C825ECC08A2E}" dt="2022-11-12T16:33:20.801" v="360"/>
        <pc:sldMkLst>
          <pc:docMk/>
          <pc:sldMk cId="2284592850" sldId="1041"/>
        </pc:sldMkLst>
      </pc:sldChg>
      <pc:sldChg chg="add del">
        <pc:chgData name="Yaroslav Zhydyk" userId="feca11449df7c5ed" providerId="LiveId" clId="{DEB4F5E9-665E-474A-A1DA-C825ECC08A2E}" dt="2022-11-12T16:28:17.514" v="292" actId="47"/>
        <pc:sldMkLst>
          <pc:docMk/>
          <pc:sldMk cId="3456779947" sldId="1042"/>
        </pc:sldMkLst>
      </pc:sldChg>
      <pc:sldChg chg="addSp modSp add mod">
        <pc:chgData name="Yaroslav Zhydyk" userId="feca11449df7c5ed" providerId="LiveId" clId="{DEB4F5E9-665E-474A-A1DA-C825ECC08A2E}" dt="2022-11-12T16:38:59.357" v="508" actId="554"/>
        <pc:sldMkLst>
          <pc:docMk/>
          <pc:sldMk cId="3435684906" sldId="1043"/>
        </pc:sldMkLst>
        <pc:spChg chg="mod">
          <ac:chgData name="Yaroslav Zhydyk" userId="feca11449df7c5ed" providerId="LiveId" clId="{DEB4F5E9-665E-474A-A1DA-C825ECC08A2E}" dt="2022-11-12T16:38:57.616" v="507" actId="164"/>
          <ac:spMkLst>
            <pc:docMk/>
            <pc:sldMk cId="3435684906" sldId="1043"/>
            <ac:spMk id="4" creationId="{A6FA37F4-EF9A-49F6-B441-2C6A10221740}"/>
          </ac:spMkLst>
        </pc:spChg>
        <pc:spChg chg="add mod">
          <ac:chgData name="Yaroslav Zhydyk" userId="feca11449df7c5ed" providerId="LiveId" clId="{DEB4F5E9-665E-474A-A1DA-C825ECC08A2E}" dt="2022-11-12T16:38:51.539" v="505"/>
          <ac:spMkLst>
            <pc:docMk/>
            <pc:sldMk cId="3435684906" sldId="1043"/>
            <ac:spMk id="5" creationId="{77E0CD18-0513-9446-3214-56B20A49BF24}"/>
          </ac:spMkLst>
        </pc:spChg>
        <pc:grpChg chg="add mod">
          <ac:chgData name="Yaroslav Zhydyk" userId="feca11449df7c5ed" providerId="LiveId" clId="{DEB4F5E9-665E-474A-A1DA-C825ECC08A2E}" dt="2022-11-12T16:38:59.357" v="508" actId="554"/>
          <ac:grpSpMkLst>
            <pc:docMk/>
            <pc:sldMk cId="3435684906" sldId="1043"/>
            <ac:grpSpMk id="6" creationId="{3C9046A1-9ECE-9339-AF17-C27830586A08}"/>
          </ac:grpSpMkLst>
        </pc:grpChg>
        <pc:picChg chg="mod">
          <ac:chgData name="Yaroslav Zhydyk" userId="feca11449df7c5ed" providerId="LiveId" clId="{DEB4F5E9-665E-474A-A1DA-C825ECC08A2E}" dt="2022-11-12T16:38:59.357" v="508" actId="554"/>
          <ac:picMkLst>
            <pc:docMk/>
            <pc:sldMk cId="3435684906" sldId="1043"/>
            <ac:picMk id="2" creationId="{73964640-3004-4C7F-A2BB-A14B52EA31EB}"/>
          </ac:picMkLst>
        </pc:picChg>
        <pc:picChg chg="mod">
          <ac:chgData name="Yaroslav Zhydyk" userId="feca11449df7c5ed" providerId="LiveId" clId="{DEB4F5E9-665E-474A-A1DA-C825ECC08A2E}" dt="2022-11-12T16:38:57.616" v="507" actId="164"/>
          <ac:picMkLst>
            <pc:docMk/>
            <pc:sldMk cId="3435684906" sldId="1043"/>
            <ac:picMk id="3" creationId="{8D61BD42-1778-41EF-A054-8B5B3BB53522}"/>
          </ac:picMkLst>
        </pc:picChg>
      </pc:sldChg>
      <pc:sldChg chg="addSp modSp add">
        <pc:chgData name="Yaroslav Zhydyk" userId="feca11449df7c5ed" providerId="LiveId" clId="{DEB4F5E9-665E-474A-A1DA-C825ECC08A2E}" dt="2022-11-12T16:39:12.379" v="509"/>
        <pc:sldMkLst>
          <pc:docMk/>
          <pc:sldMk cId="3880599144" sldId="1044"/>
        </pc:sldMkLst>
        <pc:spChg chg="add mod">
          <ac:chgData name="Yaroslav Zhydyk" userId="feca11449df7c5ed" providerId="LiveId" clId="{DEB4F5E9-665E-474A-A1DA-C825ECC08A2E}" dt="2022-11-12T16:39:12.379" v="509"/>
          <ac:spMkLst>
            <pc:docMk/>
            <pc:sldMk cId="3880599144" sldId="1044"/>
            <ac:spMk id="2" creationId="{DD47BEE2-600B-38E5-DCB5-02E43D7F47F2}"/>
          </ac:spMkLst>
        </pc:spChg>
      </pc:sldChg>
      <pc:sldChg chg="addSp modSp add">
        <pc:chgData name="Yaroslav Zhydyk" userId="feca11449df7c5ed" providerId="LiveId" clId="{DEB4F5E9-665E-474A-A1DA-C825ECC08A2E}" dt="2022-11-12T16:42:48.698" v="571"/>
        <pc:sldMkLst>
          <pc:docMk/>
          <pc:sldMk cId="1388246376" sldId="1046"/>
        </pc:sldMkLst>
        <pc:spChg chg="add mod">
          <ac:chgData name="Yaroslav Zhydyk" userId="feca11449df7c5ed" providerId="LiveId" clId="{DEB4F5E9-665E-474A-A1DA-C825ECC08A2E}" dt="2022-11-12T16:42:48.698" v="571"/>
          <ac:spMkLst>
            <pc:docMk/>
            <pc:sldMk cId="1388246376" sldId="1046"/>
            <ac:spMk id="4" creationId="{7EF61C57-A0AA-A4B7-BF13-218AB85115B1}"/>
          </ac:spMkLst>
        </pc:spChg>
      </pc:sldChg>
      <pc:sldChg chg="addSp modSp add">
        <pc:chgData name="Yaroslav Zhydyk" userId="feca11449df7c5ed" providerId="LiveId" clId="{DEB4F5E9-665E-474A-A1DA-C825ECC08A2E}" dt="2022-11-12T16:42:52.387" v="573"/>
        <pc:sldMkLst>
          <pc:docMk/>
          <pc:sldMk cId="1033180902" sldId="1047"/>
        </pc:sldMkLst>
        <pc:spChg chg="add mod">
          <ac:chgData name="Yaroslav Zhydyk" userId="feca11449df7c5ed" providerId="LiveId" clId="{DEB4F5E9-665E-474A-A1DA-C825ECC08A2E}" dt="2022-11-12T16:42:52.387" v="573"/>
          <ac:spMkLst>
            <pc:docMk/>
            <pc:sldMk cId="1033180902" sldId="1047"/>
            <ac:spMk id="4" creationId="{F5C71348-97A5-D682-8659-F81509E44E5F}"/>
          </ac:spMkLst>
        </pc:spChg>
      </pc:sldChg>
      <pc:sldChg chg="addSp modSp add">
        <pc:chgData name="Yaroslav Zhydyk" userId="feca11449df7c5ed" providerId="LiveId" clId="{DEB4F5E9-665E-474A-A1DA-C825ECC08A2E}" dt="2022-11-12T16:42:54.395" v="574"/>
        <pc:sldMkLst>
          <pc:docMk/>
          <pc:sldMk cId="2096062879" sldId="1048"/>
        </pc:sldMkLst>
        <pc:spChg chg="add mod">
          <ac:chgData name="Yaroslav Zhydyk" userId="feca11449df7c5ed" providerId="LiveId" clId="{DEB4F5E9-665E-474A-A1DA-C825ECC08A2E}" dt="2022-11-12T16:42:54.395" v="574"/>
          <ac:spMkLst>
            <pc:docMk/>
            <pc:sldMk cId="2096062879" sldId="1048"/>
            <ac:spMk id="4" creationId="{CF03A13B-4E34-E1F8-C761-6F665D85FCC7}"/>
          </ac:spMkLst>
        </pc:spChg>
      </pc:sldChg>
      <pc:sldChg chg="addSp modSp add">
        <pc:chgData name="Yaroslav Zhydyk" userId="feca11449df7c5ed" providerId="LiveId" clId="{DEB4F5E9-665E-474A-A1DA-C825ECC08A2E}" dt="2022-11-12T16:42:56.267" v="575"/>
        <pc:sldMkLst>
          <pc:docMk/>
          <pc:sldMk cId="1686934415" sldId="1049"/>
        </pc:sldMkLst>
        <pc:spChg chg="add mod">
          <ac:chgData name="Yaroslav Zhydyk" userId="feca11449df7c5ed" providerId="LiveId" clId="{DEB4F5E9-665E-474A-A1DA-C825ECC08A2E}" dt="2022-11-12T16:42:56.267" v="575"/>
          <ac:spMkLst>
            <pc:docMk/>
            <pc:sldMk cId="1686934415" sldId="1049"/>
            <ac:spMk id="4" creationId="{12A8F63B-75D0-8AD2-F3AF-032A2B1C2838}"/>
          </ac:spMkLst>
        </pc:spChg>
      </pc:sldChg>
      <pc:sldChg chg="addSp modSp add">
        <pc:chgData name="Yaroslav Zhydyk" userId="feca11449df7c5ed" providerId="LiveId" clId="{DEB4F5E9-665E-474A-A1DA-C825ECC08A2E}" dt="2022-11-12T16:42:58.055" v="576"/>
        <pc:sldMkLst>
          <pc:docMk/>
          <pc:sldMk cId="498498045" sldId="1050"/>
        </pc:sldMkLst>
        <pc:spChg chg="add mod">
          <ac:chgData name="Yaroslav Zhydyk" userId="feca11449df7c5ed" providerId="LiveId" clId="{DEB4F5E9-665E-474A-A1DA-C825ECC08A2E}" dt="2022-11-12T16:42:58.055" v="576"/>
          <ac:spMkLst>
            <pc:docMk/>
            <pc:sldMk cId="498498045" sldId="1050"/>
            <ac:spMk id="2" creationId="{0DBB01EB-7A88-32CA-475C-A3B2CD31FA34}"/>
          </ac:spMkLst>
        </pc:spChg>
      </pc:sldChg>
      <pc:sldChg chg="addSp modSp add">
        <pc:chgData name="Yaroslav Zhydyk" userId="feca11449df7c5ed" providerId="LiveId" clId="{DEB4F5E9-665E-474A-A1DA-C825ECC08A2E}" dt="2022-11-12T16:43:02.595" v="577"/>
        <pc:sldMkLst>
          <pc:docMk/>
          <pc:sldMk cId="3785024412" sldId="1051"/>
        </pc:sldMkLst>
        <pc:spChg chg="add mod">
          <ac:chgData name="Yaroslav Zhydyk" userId="feca11449df7c5ed" providerId="LiveId" clId="{DEB4F5E9-665E-474A-A1DA-C825ECC08A2E}" dt="2022-11-12T16:43:02.595" v="577"/>
          <ac:spMkLst>
            <pc:docMk/>
            <pc:sldMk cId="3785024412" sldId="1051"/>
            <ac:spMk id="2" creationId="{3A613219-B86B-FFC4-C220-B12A04073D39}"/>
          </ac:spMkLst>
        </pc:spChg>
      </pc:sldChg>
      <pc:sldChg chg="add del">
        <pc:chgData name="Yaroslav Zhydyk" userId="feca11449df7c5ed" providerId="LiveId" clId="{DEB4F5E9-665E-474A-A1DA-C825ECC08A2E}" dt="2022-11-12T16:45:13.921" v="599" actId="47"/>
        <pc:sldMkLst>
          <pc:docMk/>
          <pc:sldMk cId="1343861139" sldId="1052"/>
        </pc:sldMkLst>
      </pc:sldChg>
      <pc:sldChg chg="addSp modSp add">
        <pc:chgData name="Yaroslav Zhydyk" userId="feca11449df7c5ed" providerId="LiveId" clId="{DEB4F5E9-665E-474A-A1DA-C825ECC08A2E}" dt="2022-11-12T16:45:43.283" v="608"/>
        <pc:sldMkLst>
          <pc:docMk/>
          <pc:sldMk cId="1714960828" sldId="1054"/>
        </pc:sldMkLst>
        <pc:spChg chg="add mod">
          <ac:chgData name="Yaroslav Zhydyk" userId="feca11449df7c5ed" providerId="LiveId" clId="{DEB4F5E9-665E-474A-A1DA-C825ECC08A2E}" dt="2022-11-12T16:45:43.283" v="608"/>
          <ac:spMkLst>
            <pc:docMk/>
            <pc:sldMk cId="1714960828" sldId="1054"/>
            <ac:spMk id="2" creationId="{ADE07733-D185-22C5-62B3-1B718FE0DFA7}"/>
          </ac:spMkLst>
        </pc:spChg>
      </pc:sldChg>
      <pc:sldChg chg="add del">
        <pc:chgData name="Yaroslav Zhydyk" userId="feca11449df7c5ed" providerId="LiveId" clId="{DEB4F5E9-665E-474A-A1DA-C825ECC08A2E}" dt="2022-11-12T16:46:52.777" v="618" actId="47"/>
        <pc:sldMkLst>
          <pc:docMk/>
          <pc:sldMk cId="2754938537" sldId="1055"/>
        </pc:sldMkLst>
      </pc:sldChg>
      <pc:sldChg chg="add del">
        <pc:chgData name="Yaroslav Zhydyk" userId="feca11449df7c5ed" providerId="LiveId" clId="{DEB4F5E9-665E-474A-A1DA-C825ECC08A2E}" dt="2022-11-12T16:51:16.459" v="722" actId="47"/>
        <pc:sldMkLst>
          <pc:docMk/>
          <pc:sldMk cId="912857565" sldId="1062"/>
        </pc:sldMkLst>
      </pc:sldChg>
      <pc:sldChg chg="add del">
        <pc:chgData name="Yaroslav Zhydyk" userId="feca11449df7c5ed" providerId="LiveId" clId="{DEB4F5E9-665E-474A-A1DA-C825ECC08A2E}" dt="2022-11-12T16:51:17.129" v="723" actId="47"/>
        <pc:sldMkLst>
          <pc:docMk/>
          <pc:sldMk cId="2585245830" sldId="1063"/>
        </pc:sldMkLst>
      </pc:sldChg>
      <pc:sldChg chg="delSp add del mod">
        <pc:chgData name="Yaroslav Zhydyk" userId="feca11449df7c5ed" providerId="LiveId" clId="{DEB4F5E9-665E-474A-A1DA-C825ECC08A2E}" dt="2022-11-12T16:54:33.679" v="774" actId="47"/>
        <pc:sldMkLst>
          <pc:docMk/>
          <pc:sldMk cId="1222448659" sldId="1064"/>
        </pc:sldMkLst>
        <pc:picChg chg="del">
          <ac:chgData name="Yaroslav Zhydyk" userId="feca11449df7c5ed" providerId="LiveId" clId="{DEB4F5E9-665E-474A-A1DA-C825ECC08A2E}" dt="2022-11-12T16:53:49.806" v="759" actId="21"/>
          <ac:picMkLst>
            <pc:docMk/>
            <pc:sldMk cId="1222448659" sldId="1064"/>
            <ac:picMk id="3" creationId="{CF470EF0-7110-4069-BA58-678275262C22}"/>
          </ac:picMkLst>
        </pc:picChg>
        <pc:picChg chg="del">
          <ac:chgData name="Yaroslav Zhydyk" userId="feca11449df7c5ed" providerId="LiveId" clId="{DEB4F5E9-665E-474A-A1DA-C825ECC08A2E}" dt="2022-11-12T16:54:01.794" v="767" actId="21"/>
          <ac:picMkLst>
            <pc:docMk/>
            <pc:sldMk cId="1222448659" sldId="1064"/>
            <ac:picMk id="7" creationId="{DF7E048A-CD0C-45BC-920A-ED204975F580}"/>
          </ac:picMkLst>
        </pc:picChg>
      </pc:sldChg>
      <pc:sldChg chg="add del">
        <pc:chgData name="Yaroslav Zhydyk" userId="feca11449df7c5ed" providerId="LiveId" clId="{DEB4F5E9-665E-474A-A1DA-C825ECC08A2E}" dt="2022-11-12T16:51:39.448" v="724" actId="47"/>
        <pc:sldMkLst>
          <pc:docMk/>
          <pc:sldMk cId="1063083344" sldId="1065"/>
        </pc:sldMkLst>
      </pc:sldChg>
      <pc:sldChg chg="add del">
        <pc:chgData name="Yaroslav Zhydyk" userId="feca11449df7c5ed" providerId="LiveId" clId="{DEB4F5E9-665E-474A-A1DA-C825ECC08A2E}" dt="2022-11-12T16:55:31.957" v="803" actId="47"/>
        <pc:sldMkLst>
          <pc:docMk/>
          <pc:sldMk cId="3665411404" sldId="1067"/>
        </pc:sldMkLst>
      </pc:sldChg>
      <pc:sldChg chg="delSp add del mod">
        <pc:chgData name="Yaroslav Zhydyk" userId="feca11449df7c5ed" providerId="LiveId" clId="{DEB4F5E9-665E-474A-A1DA-C825ECC08A2E}" dt="2022-11-12T17:00:37.865" v="901" actId="47"/>
        <pc:sldMkLst>
          <pc:docMk/>
          <pc:sldMk cId="763875317" sldId="1068"/>
        </pc:sldMkLst>
        <pc:spChg chg="del">
          <ac:chgData name="Yaroslav Zhydyk" userId="feca11449df7c5ed" providerId="LiveId" clId="{DEB4F5E9-665E-474A-A1DA-C825ECC08A2E}" dt="2022-11-12T16:59:33.555" v="880" actId="21"/>
          <ac:spMkLst>
            <pc:docMk/>
            <pc:sldMk cId="763875317" sldId="1068"/>
            <ac:spMk id="26" creationId="{40F9E930-29E9-4E02-B847-FEE4D329A59E}"/>
          </ac:spMkLst>
        </pc:spChg>
        <pc:spChg chg="del">
          <ac:chgData name="Yaroslav Zhydyk" userId="feca11449df7c5ed" providerId="LiveId" clId="{DEB4F5E9-665E-474A-A1DA-C825ECC08A2E}" dt="2022-11-12T16:59:33.555" v="880" actId="21"/>
          <ac:spMkLst>
            <pc:docMk/>
            <pc:sldMk cId="763875317" sldId="1068"/>
            <ac:spMk id="29" creationId="{3637EA03-51E4-4F68-B1CC-4B935FFF2882}"/>
          </ac:spMkLst>
        </pc:spChg>
        <pc:spChg chg="del">
          <ac:chgData name="Yaroslav Zhydyk" userId="feca11449df7c5ed" providerId="LiveId" clId="{DEB4F5E9-665E-474A-A1DA-C825ECC08A2E}" dt="2022-11-12T16:59:33.555" v="880" actId="21"/>
          <ac:spMkLst>
            <pc:docMk/>
            <pc:sldMk cId="763875317" sldId="1068"/>
            <ac:spMk id="30" creationId="{78C28952-6F16-4E57-A059-4F90F3A376C6}"/>
          </ac:spMkLst>
        </pc:spChg>
        <pc:spChg chg="del">
          <ac:chgData name="Yaroslav Zhydyk" userId="feca11449df7c5ed" providerId="LiveId" clId="{DEB4F5E9-665E-474A-A1DA-C825ECC08A2E}" dt="2022-11-12T16:59:33.555" v="880" actId="21"/>
          <ac:spMkLst>
            <pc:docMk/>
            <pc:sldMk cId="763875317" sldId="1068"/>
            <ac:spMk id="31" creationId="{B3FF3E5F-60E9-431C-A15D-2CAC08D97FBB}"/>
          </ac:spMkLst>
        </pc:spChg>
        <pc:spChg chg="del">
          <ac:chgData name="Yaroslav Zhydyk" userId="feca11449df7c5ed" providerId="LiveId" clId="{DEB4F5E9-665E-474A-A1DA-C825ECC08A2E}" dt="2022-11-12T16:59:33.555" v="880" actId="21"/>
          <ac:spMkLst>
            <pc:docMk/>
            <pc:sldMk cId="763875317" sldId="1068"/>
            <ac:spMk id="32" creationId="{1510E95E-C01B-4CEE-B44A-8785D9F58AEC}"/>
          </ac:spMkLst>
        </pc:spChg>
        <pc:spChg chg="del">
          <ac:chgData name="Yaroslav Zhydyk" userId="feca11449df7c5ed" providerId="LiveId" clId="{DEB4F5E9-665E-474A-A1DA-C825ECC08A2E}" dt="2022-11-12T16:59:33.555" v="880" actId="21"/>
          <ac:spMkLst>
            <pc:docMk/>
            <pc:sldMk cId="763875317" sldId="1068"/>
            <ac:spMk id="33" creationId="{0C41D0DA-CDEF-4A15-B974-92F821074F69}"/>
          </ac:spMkLst>
        </pc:spChg>
        <pc:spChg chg="del">
          <ac:chgData name="Yaroslav Zhydyk" userId="feca11449df7c5ed" providerId="LiveId" clId="{DEB4F5E9-665E-474A-A1DA-C825ECC08A2E}" dt="2022-11-12T16:59:33.555" v="880" actId="21"/>
          <ac:spMkLst>
            <pc:docMk/>
            <pc:sldMk cId="763875317" sldId="1068"/>
            <ac:spMk id="34" creationId="{933C82EB-6C7C-443E-8A7A-818BA03F4BC7}"/>
          </ac:spMkLst>
        </pc:spChg>
        <pc:spChg chg="del">
          <ac:chgData name="Yaroslav Zhydyk" userId="feca11449df7c5ed" providerId="LiveId" clId="{DEB4F5E9-665E-474A-A1DA-C825ECC08A2E}" dt="2022-11-12T16:59:33.555" v="880" actId="21"/>
          <ac:spMkLst>
            <pc:docMk/>
            <pc:sldMk cId="763875317" sldId="1068"/>
            <ac:spMk id="35" creationId="{B83C533F-10FF-4B32-8A0C-12A4B41CE540}"/>
          </ac:spMkLst>
        </pc:spChg>
        <pc:spChg chg="del">
          <ac:chgData name="Yaroslav Zhydyk" userId="feca11449df7c5ed" providerId="LiveId" clId="{DEB4F5E9-665E-474A-A1DA-C825ECC08A2E}" dt="2022-11-12T16:59:33.555" v="880" actId="21"/>
          <ac:spMkLst>
            <pc:docMk/>
            <pc:sldMk cId="763875317" sldId="1068"/>
            <ac:spMk id="40" creationId="{B0F67279-3098-4A05-ACC4-591ECB5A1A14}"/>
          </ac:spMkLst>
        </pc:spChg>
        <pc:picChg chg="del">
          <ac:chgData name="Yaroslav Zhydyk" userId="feca11449df7c5ed" providerId="LiveId" clId="{DEB4F5E9-665E-474A-A1DA-C825ECC08A2E}" dt="2022-11-12T16:59:33.555" v="880" actId="21"/>
          <ac:picMkLst>
            <pc:docMk/>
            <pc:sldMk cId="763875317" sldId="1068"/>
            <ac:picMk id="37" creationId="{1230FCC0-6332-4750-83E7-867C8C3B4C95}"/>
          </ac:picMkLst>
        </pc:picChg>
        <pc:picChg chg="del">
          <ac:chgData name="Yaroslav Zhydyk" userId="feca11449df7c5ed" providerId="LiveId" clId="{DEB4F5E9-665E-474A-A1DA-C825ECC08A2E}" dt="2022-11-12T16:59:33.555" v="880" actId="21"/>
          <ac:picMkLst>
            <pc:docMk/>
            <pc:sldMk cId="763875317" sldId="1068"/>
            <ac:picMk id="38" creationId="{0F44D2D6-7086-4B97-90CC-E95BF5955DD7}"/>
          </ac:picMkLst>
        </pc:picChg>
      </pc:sldChg>
      <pc:sldChg chg="addSp delSp modSp add mod modClrScheme chgLayout">
        <pc:chgData name="Yaroslav Zhydyk" userId="feca11449df7c5ed" providerId="LiveId" clId="{DEB4F5E9-665E-474A-A1DA-C825ECC08A2E}" dt="2022-11-12T17:00:45.187" v="904" actId="478"/>
        <pc:sldMkLst>
          <pc:docMk/>
          <pc:sldMk cId="2397068157" sldId="1069"/>
        </pc:sldMkLst>
        <pc:spChg chg="add del mod ord">
          <ac:chgData name="Yaroslav Zhydyk" userId="feca11449df7c5ed" providerId="LiveId" clId="{DEB4F5E9-665E-474A-A1DA-C825ECC08A2E}" dt="2022-11-12T17:00:45.187" v="904" actId="478"/>
          <ac:spMkLst>
            <pc:docMk/>
            <pc:sldMk cId="2397068157" sldId="1069"/>
            <ac:spMk id="2" creationId="{10D60673-9F5D-36C0-FC01-2236F906867C}"/>
          </ac:spMkLst>
        </pc:spChg>
      </pc:sldChg>
      <pc:sldChg chg="addSp modSp add">
        <pc:chgData name="Yaroslav Zhydyk" userId="feca11449df7c5ed" providerId="LiveId" clId="{DEB4F5E9-665E-474A-A1DA-C825ECC08A2E}" dt="2022-11-12T17:02:36.891" v="926"/>
        <pc:sldMkLst>
          <pc:docMk/>
          <pc:sldMk cId="1523399635" sldId="1071"/>
        </pc:sldMkLst>
        <pc:spChg chg="add mod">
          <ac:chgData name="Yaroslav Zhydyk" userId="feca11449df7c5ed" providerId="LiveId" clId="{DEB4F5E9-665E-474A-A1DA-C825ECC08A2E}" dt="2022-11-12T17:02:36.891" v="926"/>
          <ac:spMkLst>
            <pc:docMk/>
            <pc:sldMk cId="1523399635" sldId="1071"/>
            <ac:spMk id="2" creationId="{BB06C00F-5EE8-157A-9A45-15095CA33D35}"/>
          </ac:spMkLst>
        </pc:spChg>
      </pc:sldChg>
      <pc:sldChg chg="add del">
        <pc:chgData name="Yaroslav Zhydyk" userId="feca11449df7c5ed" providerId="LiveId" clId="{DEB4F5E9-665E-474A-A1DA-C825ECC08A2E}" dt="2022-11-12T16:28:17.514" v="292" actId="47"/>
        <pc:sldMkLst>
          <pc:docMk/>
          <pc:sldMk cId="3890253844" sldId="3537"/>
        </pc:sldMkLst>
      </pc:sldChg>
      <pc:sldChg chg="add del">
        <pc:chgData name="Yaroslav Zhydyk" userId="feca11449df7c5ed" providerId="LiveId" clId="{DEB4F5E9-665E-474A-A1DA-C825ECC08A2E}" dt="2022-11-12T16:28:17.514" v="292" actId="47"/>
        <pc:sldMkLst>
          <pc:docMk/>
          <pc:sldMk cId="1746414120" sldId="3978"/>
        </pc:sldMkLst>
      </pc:sldChg>
      <pc:sldChg chg="add del">
        <pc:chgData name="Yaroslav Zhydyk" userId="feca11449df7c5ed" providerId="LiveId" clId="{DEB4F5E9-665E-474A-A1DA-C825ECC08A2E}" dt="2022-11-12T16:28:17.514" v="292" actId="47"/>
        <pc:sldMkLst>
          <pc:docMk/>
          <pc:sldMk cId="558104021" sldId="3979"/>
        </pc:sldMkLst>
      </pc:sldChg>
      <pc:sldChg chg="addSp modSp add">
        <pc:chgData name="Yaroslav Zhydyk" userId="feca11449df7c5ed" providerId="LiveId" clId="{DEB4F5E9-665E-474A-A1DA-C825ECC08A2E}" dt="2022-11-12T16:45:40.117" v="607"/>
        <pc:sldMkLst>
          <pc:docMk/>
          <pc:sldMk cId="2131384609" sldId="3985"/>
        </pc:sldMkLst>
        <pc:spChg chg="add mod">
          <ac:chgData name="Yaroslav Zhydyk" userId="feca11449df7c5ed" providerId="LiveId" clId="{DEB4F5E9-665E-474A-A1DA-C825ECC08A2E}" dt="2022-11-12T16:45:40.117" v="607"/>
          <ac:spMkLst>
            <pc:docMk/>
            <pc:sldMk cId="2131384609" sldId="3985"/>
            <ac:spMk id="4" creationId="{A9CC68F1-2758-375E-C2C2-64DB2BE6C21F}"/>
          </ac:spMkLst>
        </pc:spChg>
      </pc:sldChg>
      <pc:sldChg chg="addSp delSp modSp add mod">
        <pc:chgData name="Yaroslav Zhydyk" userId="feca11449df7c5ed" providerId="LiveId" clId="{DEB4F5E9-665E-474A-A1DA-C825ECC08A2E}" dt="2022-11-12T16:45:37.698" v="606" actId="1076"/>
        <pc:sldMkLst>
          <pc:docMk/>
          <pc:sldMk cId="2063381359" sldId="3986"/>
        </pc:sldMkLst>
        <pc:spChg chg="add del mod">
          <ac:chgData name="Yaroslav Zhydyk" userId="feca11449df7c5ed" providerId="LiveId" clId="{DEB4F5E9-665E-474A-A1DA-C825ECC08A2E}" dt="2022-11-12T16:45:19.372" v="601"/>
          <ac:spMkLst>
            <pc:docMk/>
            <pc:sldMk cId="2063381359" sldId="3986"/>
            <ac:spMk id="4" creationId="{FB72364A-27EE-927B-319F-C6FFAB40BC05}"/>
          </ac:spMkLst>
        </pc:spChg>
        <pc:spChg chg="add mod">
          <ac:chgData name="Yaroslav Zhydyk" userId="feca11449df7c5ed" providerId="LiveId" clId="{DEB4F5E9-665E-474A-A1DA-C825ECC08A2E}" dt="2022-11-12T16:45:23.564" v="603"/>
          <ac:spMkLst>
            <pc:docMk/>
            <pc:sldMk cId="2063381359" sldId="3986"/>
            <ac:spMk id="5" creationId="{F1C3D6C3-3997-CDDF-DCEF-8106648FC532}"/>
          </ac:spMkLst>
        </pc:spChg>
        <pc:spChg chg="mod">
          <ac:chgData name="Yaroslav Zhydyk" userId="feca11449df7c5ed" providerId="LiveId" clId="{DEB4F5E9-665E-474A-A1DA-C825ECC08A2E}" dt="2022-11-12T16:45:37.698" v="606" actId="1076"/>
          <ac:spMkLst>
            <pc:docMk/>
            <pc:sldMk cId="2063381359" sldId="3986"/>
            <ac:spMk id="41" creationId="{F006717B-C38B-BE25-C3DB-ADB32384A124}"/>
          </ac:spMkLst>
        </pc:spChg>
        <pc:spChg chg="mod">
          <ac:chgData name="Yaroslav Zhydyk" userId="feca11449df7c5ed" providerId="LiveId" clId="{DEB4F5E9-665E-474A-A1DA-C825ECC08A2E}" dt="2022-11-12T16:45:37.698" v="606" actId="1076"/>
          <ac:spMkLst>
            <pc:docMk/>
            <pc:sldMk cId="2063381359" sldId="3986"/>
            <ac:spMk id="42" creationId="{E4C013AB-77C9-9C2C-13DD-6F8DA22C1FCE}"/>
          </ac:spMkLst>
        </pc:spChg>
        <pc:grpChg chg="mod">
          <ac:chgData name="Yaroslav Zhydyk" userId="feca11449df7c5ed" providerId="LiveId" clId="{DEB4F5E9-665E-474A-A1DA-C825ECC08A2E}" dt="2022-11-12T16:45:37.698" v="606" actId="1076"/>
          <ac:grpSpMkLst>
            <pc:docMk/>
            <pc:sldMk cId="2063381359" sldId="3986"/>
            <ac:grpSpMk id="40" creationId="{739DEDCE-9CB5-3433-C212-1DA441B179A6}"/>
          </ac:grpSpMkLst>
        </pc:grpChg>
        <pc:picChg chg="mod">
          <ac:chgData name="Yaroslav Zhydyk" userId="feca11449df7c5ed" providerId="LiveId" clId="{DEB4F5E9-665E-474A-A1DA-C825ECC08A2E}" dt="2022-11-12T16:45:37.698" v="606" actId="1076"/>
          <ac:picMkLst>
            <pc:docMk/>
            <pc:sldMk cId="2063381359" sldId="3986"/>
            <ac:picMk id="43" creationId="{124C3A01-C1DF-4402-D112-34E112C79BEF}"/>
          </ac:picMkLst>
        </pc:picChg>
      </pc:sldChg>
      <pc:sldChg chg="add del">
        <pc:chgData name="Yaroslav Zhydyk" userId="feca11449df7c5ed" providerId="LiveId" clId="{DEB4F5E9-665E-474A-A1DA-C825ECC08A2E}" dt="2022-11-12T16:28:17.514" v="292" actId="47"/>
        <pc:sldMkLst>
          <pc:docMk/>
          <pc:sldMk cId="1494458417" sldId="3987"/>
        </pc:sldMkLst>
      </pc:sldChg>
      <pc:sldChg chg="add del">
        <pc:chgData name="Yaroslav Zhydyk" userId="feca11449df7c5ed" providerId="LiveId" clId="{DEB4F5E9-665E-474A-A1DA-C825ECC08A2E}" dt="2022-11-12T16:39:17.440" v="510" actId="47"/>
        <pc:sldMkLst>
          <pc:docMk/>
          <pc:sldMk cId="1876527705" sldId="3988"/>
        </pc:sldMkLst>
      </pc:sldChg>
      <pc:sldChg chg="addSp modSp add mod">
        <pc:chgData name="Yaroslav Zhydyk" userId="feca11449df7c5ed" providerId="LiveId" clId="{DEB4F5E9-665E-474A-A1DA-C825ECC08A2E}" dt="2022-11-12T16:32:05.680" v="345"/>
        <pc:sldMkLst>
          <pc:docMk/>
          <pc:sldMk cId="733652173" sldId="3993"/>
        </pc:sldMkLst>
        <pc:spChg chg="add mod">
          <ac:chgData name="Yaroslav Zhydyk" userId="feca11449df7c5ed" providerId="LiveId" clId="{DEB4F5E9-665E-474A-A1DA-C825ECC08A2E}" dt="2022-11-12T16:32:05.680" v="345"/>
          <ac:spMkLst>
            <pc:docMk/>
            <pc:sldMk cId="733652173" sldId="3993"/>
            <ac:spMk id="2" creationId="{A271A46D-973C-1B67-7EBA-12804BE5E877}"/>
          </ac:spMkLst>
        </pc:spChg>
        <pc:spChg chg="mod">
          <ac:chgData name="Yaroslav Zhydyk" userId="feca11449df7c5ed" providerId="LiveId" clId="{DEB4F5E9-665E-474A-A1DA-C825ECC08A2E}" dt="2022-11-12T16:18:45.319" v="154" actId="207"/>
          <ac:spMkLst>
            <pc:docMk/>
            <pc:sldMk cId="733652173" sldId="3993"/>
            <ac:spMk id="9" creationId="{82A9F24E-A687-435E-83AE-C58DB4B06173}"/>
          </ac:spMkLst>
        </pc:spChg>
        <pc:spChg chg="mod">
          <ac:chgData name="Yaroslav Zhydyk" userId="feca11449df7c5ed" providerId="LiveId" clId="{DEB4F5E9-665E-474A-A1DA-C825ECC08A2E}" dt="2022-11-12T16:18:48.838" v="156" actId="207"/>
          <ac:spMkLst>
            <pc:docMk/>
            <pc:sldMk cId="733652173" sldId="3993"/>
            <ac:spMk id="11" creationId="{A358CE5E-BAE4-4D91-BB85-FEA2A75B9B65}"/>
          </ac:spMkLst>
        </pc:spChg>
      </pc:sldChg>
      <pc:sldChg chg="addSp modSp add">
        <pc:chgData name="Yaroslav Zhydyk" userId="feca11449df7c5ed" providerId="LiveId" clId="{DEB4F5E9-665E-474A-A1DA-C825ECC08A2E}" dt="2022-11-12T16:41:00.728" v="546"/>
        <pc:sldMkLst>
          <pc:docMk/>
          <pc:sldMk cId="631721545" sldId="3995"/>
        </pc:sldMkLst>
        <pc:spChg chg="add mod">
          <ac:chgData name="Yaroslav Zhydyk" userId="feca11449df7c5ed" providerId="LiveId" clId="{DEB4F5E9-665E-474A-A1DA-C825ECC08A2E}" dt="2022-11-12T16:41:00.728" v="546"/>
          <ac:spMkLst>
            <pc:docMk/>
            <pc:sldMk cId="631721545" sldId="3995"/>
            <ac:spMk id="4" creationId="{EBEBB592-F199-039B-658F-54EB837EAA7E}"/>
          </ac:spMkLst>
        </pc:spChg>
      </pc:sldChg>
      <pc:sldChg chg="modSp add mod ord">
        <pc:chgData name="Yaroslav Zhydyk" userId="feca11449df7c5ed" providerId="LiveId" clId="{DEB4F5E9-665E-474A-A1DA-C825ECC08A2E}" dt="2022-11-12T16:13:52.970" v="26"/>
        <pc:sldMkLst>
          <pc:docMk/>
          <pc:sldMk cId="3356834788" sldId="3996"/>
        </pc:sldMkLst>
        <pc:spChg chg="mod">
          <ac:chgData name="Yaroslav Zhydyk" userId="feca11449df7c5ed" providerId="LiveId" clId="{DEB4F5E9-665E-474A-A1DA-C825ECC08A2E}" dt="2022-11-12T16:13:49.602" v="24"/>
          <ac:spMkLst>
            <pc:docMk/>
            <pc:sldMk cId="3356834788" sldId="3996"/>
            <ac:spMk id="6" creationId="{022C2468-4946-839D-1137-111C3351D7A6}"/>
          </ac:spMkLst>
        </pc:spChg>
      </pc:sldChg>
      <pc:sldChg chg="addSp modSp add mod">
        <pc:chgData name="Yaroslav Zhydyk" userId="feca11449df7c5ed" providerId="LiveId" clId="{DEB4F5E9-665E-474A-A1DA-C825ECC08A2E}" dt="2022-11-12T16:31:54.945" v="342"/>
        <pc:sldMkLst>
          <pc:docMk/>
          <pc:sldMk cId="2984690049" sldId="3997"/>
        </pc:sldMkLst>
        <pc:spChg chg="add mod">
          <ac:chgData name="Yaroslav Zhydyk" userId="feca11449df7c5ed" providerId="LiveId" clId="{DEB4F5E9-665E-474A-A1DA-C825ECC08A2E}" dt="2022-11-12T16:31:54.945" v="342"/>
          <ac:spMkLst>
            <pc:docMk/>
            <pc:sldMk cId="2984690049" sldId="3997"/>
            <ac:spMk id="2" creationId="{322EEC9C-01BF-F76C-931B-25EF15D40C86}"/>
          </ac:spMkLst>
        </pc:spChg>
        <pc:spChg chg="mod">
          <ac:chgData name="Yaroslav Zhydyk" userId="feca11449df7c5ed" providerId="LiveId" clId="{DEB4F5E9-665E-474A-A1DA-C825ECC08A2E}" dt="2022-11-12T16:15:35.098" v="62" actId="208"/>
          <ac:spMkLst>
            <pc:docMk/>
            <pc:sldMk cId="2984690049" sldId="3997"/>
            <ac:spMk id="3" creationId="{DA907573-8669-2953-0575-9AB117F7477A}"/>
          </ac:spMkLst>
        </pc:spChg>
        <pc:spChg chg="mod">
          <ac:chgData name="Yaroslav Zhydyk" userId="feca11449df7c5ed" providerId="LiveId" clId="{DEB4F5E9-665E-474A-A1DA-C825ECC08A2E}" dt="2022-11-12T16:15:26.377" v="58"/>
          <ac:spMkLst>
            <pc:docMk/>
            <pc:sldMk cId="2984690049" sldId="3997"/>
            <ac:spMk id="6" creationId="{022C2468-4946-839D-1137-111C3351D7A6}"/>
          </ac:spMkLst>
        </pc:spChg>
        <pc:spChg chg="mod">
          <ac:chgData name="Yaroslav Zhydyk" userId="feca11449df7c5ed" providerId="LiveId" clId="{DEB4F5E9-665E-474A-A1DA-C825ECC08A2E}" dt="2022-11-12T16:15:35.098" v="62" actId="208"/>
          <ac:spMkLst>
            <pc:docMk/>
            <pc:sldMk cId="2984690049" sldId="3997"/>
            <ac:spMk id="7" creationId="{BE3C2C7F-31E6-928D-9EF2-2FB84992D825}"/>
          </ac:spMkLst>
        </pc:spChg>
        <pc:spChg chg="mod">
          <ac:chgData name="Yaroslav Zhydyk" userId="feca11449df7c5ed" providerId="LiveId" clId="{DEB4F5E9-665E-474A-A1DA-C825ECC08A2E}" dt="2022-11-12T16:15:29.888" v="60"/>
          <ac:spMkLst>
            <pc:docMk/>
            <pc:sldMk cId="2984690049" sldId="3997"/>
            <ac:spMk id="8" creationId="{B883BFF6-7CA0-0836-FA2F-87184D1E9B10}"/>
          </ac:spMkLst>
        </pc:spChg>
      </pc:sldChg>
      <pc:sldChg chg="addSp delSp modSp new add mod">
        <pc:chgData name="Yaroslav Zhydyk" userId="feca11449df7c5ed" providerId="LiveId" clId="{DEB4F5E9-665E-474A-A1DA-C825ECC08A2E}" dt="2022-11-12T16:21:48.267" v="225" actId="1076"/>
        <pc:sldMkLst>
          <pc:docMk/>
          <pc:sldMk cId="970726397" sldId="3998"/>
        </pc:sldMkLst>
        <pc:spChg chg="mod">
          <ac:chgData name="Yaroslav Zhydyk" userId="feca11449df7c5ed" providerId="LiveId" clId="{DEB4F5E9-665E-474A-A1DA-C825ECC08A2E}" dt="2022-11-12T16:20:30.950" v="203" actId="207"/>
          <ac:spMkLst>
            <pc:docMk/>
            <pc:sldMk cId="970726397" sldId="3998"/>
            <ac:spMk id="2" creationId="{89F93642-F6EC-2B94-8BCC-5AEDC9329EA6}"/>
          </ac:spMkLst>
        </pc:spChg>
        <pc:spChg chg="add del">
          <ac:chgData name="Yaroslav Zhydyk" userId="feca11449df7c5ed" providerId="LiveId" clId="{DEB4F5E9-665E-474A-A1DA-C825ECC08A2E}" dt="2022-11-12T16:20:43.373" v="207" actId="478"/>
          <ac:spMkLst>
            <pc:docMk/>
            <pc:sldMk cId="970726397" sldId="3998"/>
            <ac:spMk id="4" creationId="{C4024FFF-E10B-A627-D8B6-0F290CB429FA}"/>
          </ac:spMkLst>
        </pc:spChg>
        <pc:spChg chg="mod topLvl">
          <ac:chgData name="Yaroslav Zhydyk" userId="feca11449df7c5ed" providerId="LiveId" clId="{DEB4F5E9-665E-474A-A1DA-C825ECC08A2E}" dt="2022-11-12T16:21:09.742" v="215" actId="164"/>
          <ac:spMkLst>
            <pc:docMk/>
            <pc:sldMk cId="970726397" sldId="3998"/>
            <ac:spMk id="6" creationId="{B7B265ED-99A1-AE26-A1B5-E318E8553E91}"/>
          </ac:spMkLst>
        </pc:spChg>
        <pc:spChg chg="mod topLvl">
          <ac:chgData name="Yaroslav Zhydyk" userId="feca11449df7c5ed" providerId="LiveId" clId="{DEB4F5E9-665E-474A-A1DA-C825ECC08A2E}" dt="2022-11-12T16:21:40.918" v="223" actId="207"/>
          <ac:spMkLst>
            <pc:docMk/>
            <pc:sldMk cId="970726397" sldId="3998"/>
            <ac:spMk id="7" creationId="{A03CE73A-73EB-D2FC-FDE5-9EE9AA776042}"/>
          </ac:spMkLst>
        </pc:spChg>
        <pc:spChg chg="mod topLvl">
          <ac:chgData name="Yaroslav Zhydyk" userId="feca11449df7c5ed" providerId="LiveId" clId="{DEB4F5E9-665E-474A-A1DA-C825ECC08A2E}" dt="2022-11-12T16:21:09.742" v="215" actId="164"/>
          <ac:spMkLst>
            <pc:docMk/>
            <pc:sldMk cId="970726397" sldId="3998"/>
            <ac:spMk id="8" creationId="{D7325B1E-BB3E-2850-88A1-B62D33A019E4}"/>
          </ac:spMkLst>
        </pc:spChg>
        <pc:spChg chg="mod topLvl">
          <ac:chgData name="Yaroslav Zhydyk" userId="feca11449df7c5ed" providerId="LiveId" clId="{DEB4F5E9-665E-474A-A1DA-C825ECC08A2E}" dt="2022-11-12T16:21:07.274" v="214" actId="164"/>
          <ac:spMkLst>
            <pc:docMk/>
            <pc:sldMk cId="970726397" sldId="3998"/>
            <ac:spMk id="9" creationId="{1486A089-9913-232C-E53B-F0D72ACC3A8C}"/>
          </ac:spMkLst>
        </pc:spChg>
        <pc:spChg chg="mod topLvl">
          <ac:chgData name="Yaroslav Zhydyk" userId="feca11449df7c5ed" providerId="LiveId" clId="{DEB4F5E9-665E-474A-A1DA-C825ECC08A2E}" dt="2022-11-12T16:21:15.594" v="217" actId="164"/>
          <ac:spMkLst>
            <pc:docMk/>
            <pc:sldMk cId="970726397" sldId="3998"/>
            <ac:spMk id="10" creationId="{9768E3E9-F2BB-3CA4-C320-CEC97938F1F3}"/>
          </ac:spMkLst>
        </pc:spChg>
        <pc:spChg chg="mod topLvl">
          <ac:chgData name="Yaroslav Zhydyk" userId="feca11449df7c5ed" providerId="LiveId" clId="{DEB4F5E9-665E-474A-A1DA-C825ECC08A2E}" dt="2022-11-12T16:21:09.742" v="215" actId="164"/>
          <ac:spMkLst>
            <pc:docMk/>
            <pc:sldMk cId="970726397" sldId="3998"/>
            <ac:spMk id="11" creationId="{0685C445-073C-9996-32C8-E91DC085285E}"/>
          </ac:spMkLst>
        </pc:spChg>
        <pc:spChg chg="mod topLvl">
          <ac:chgData name="Yaroslav Zhydyk" userId="feca11449df7c5ed" providerId="LiveId" clId="{DEB4F5E9-665E-474A-A1DA-C825ECC08A2E}" dt="2022-11-12T16:21:07.274" v="214" actId="164"/>
          <ac:spMkLst>
            <pc:docMk/>
            <pc:sldMk cId="970726397" sldId="3998"/>
            <ac:spMk id="12" creationId="{81EC35D7-AFAE-3DF5-D9EF-B58D222F07F0}"/>
          </ac:spMkLst>
        </pc:spChg>
        <pc:spChg chg="mod topLvl">
          <ac:chgData name="Yaroslav Zhydyk" userId="feca11449df7c5ed" providerId="LiveId" clId="{DEB4F5E9-665E-474A-A1DA-C825ECC08A2E}" dt="2022-11-12T16:21:15.594" v="217" actId="164"/>
          <ac:spMkLst>
            <pc:docMk/>
            <pc:sldMk cId="970726397" sldId="3998"/>
            <ac:spMk id="13" creationId="{BED52DFB-3152-1A7F-9066-29F3E0D1EDD0}"/>
          </ac:spMkLst>
        </pc:spChg>
        <pc:spChg chg="mod topLvl">
          <ac:chgData name="Yaroslav Zhydyk" userId="feca11449df7c5ed" providerId="LiveId" clId="{DEB4F5E9-665E-474A-A1DA-C825ECC08A2E}" dt="2022-11-12T16:21:09.742" v="215" actId="164"/>
          <ac:spMkLst>
            <pc:docMk/>
            <pc:sldMk cId="970726397" sldId="3998"/>
            <ac:spMk id="14" creationId="{B56E6A2E-FD57-99BD-92F5-999A7B88BBAC}"/>
          </ac:spMkLst>
        </pc:spChg>
        <pc:spChg chg="mod topLvl">
          <ac:chgData name="Yaroslav Zhydyk" userId="feca11449df7c5ed" providerId="LiveId" clId="{DEB4F5E9-665E-474A-A1DA-C825ECC08A2E}" dt="2022-11-12T16:21:07.274" v="214" actId="164"/>
          <ac:spMkLst>
            <pc:docMk/>
            <pc:sldMk cId="970726397" sldId="3998"/>
            <ac:spMk id="15" creationId="{AD8B5388-FCA7-6597-F7BF-DD09E6AF8FFC}"/>
          </ac:spMkLst>
        </pc:spChg>
        <pc:spChg chg="mod topLvl">
          <ac:chgData name="Yaroslav Zhydyk" userId="feca11449df7c5ed" providerId="LiveId" clId="{DEB4F5E9-665E-474A-A1DA-C825ECC08A2E}" dt="2022-11-12T16:21:15.594" v="217" actId="164"/>
          <ac:spMkLst>
            <pc:docMk/>
            <pc:sldMk cId="970726397" sldId="3998"/>
            <ac:spMk id="16" creationId="{1B07A53D-CD71-F966-ED36-9B47F0E9BB8A}"/>
          </ac:spMkLst>
        </pc:spChg>
        <pc:grpChg chg="add del mod">
          <ac:chgData name="Yaroslav Zhydyk" userId="feca11449df7c5ed" providerId="LiveId" clId="{DEB4F5E9-665E-474A-A1DA-C825ECC08A2E}" dt="2022-11-12T16:20:50.867" v="209" actId="165"/>
          <ac:grpSpMkLst>
            <pc:docMk/>
            <pc:sldMk cId="970726397" sldId="3998"/>
            <ac:grpSpMk id="5" creationId="{57B0CAF1-C8CB-688F-2AF3-43CCE6AA6D6B}"/>
          </ac:grpSpMkLst>
        </pc:grpChg>
        <pc:grpChg chg="add mod">
          <ac:chgData name="Yaroslav Zhydyk" userId="feca11449df7c5ed" providerId="LiveId" clId="{DEB4F5E9-665E-474A-A1DA-C825ECC08A2E}" dt="2022-11-12T16:21:45.007" v="224" actId="164"/>
          <ac:grpSpMkLst>
            <pc:docMk/>
            <pc:sldMk cId="970726397" sldId="3998"/>
            <ac:grpSpMk id="17" creationId="{D262CBFA-0002-D4C8-F382-A83D8F73B14D}"/>
          </ac:grpSpMkLst>
        </pc:grpChg>
        <pc:grpChg chg="add mod">
          <ac:chgData name="Yaroslav Zhydyk" userId="feca11449df7c5ed" providerId="LiveId" clId="{DEB4F5E9-665E-474A-A1DA-C825ECC08A2E}" dt="2022-11-12T16:21:45.007" v="224" actId="164"/>
          <ac:grpSpMkLst>
            <pc:docMk/>
            <pc:sldMk cId="970726397" sldId="3998"/>
            <ac:grpSpMk id="18" creationId="{1F7FA9DC-3AF3-C83C-78C7-DC7AB57AC7F2}"/>
          </ac:grpSpMkLst>
        </pc:grpChg>
        <pc:grpChg chg="add mod">
          <ac:chgData name="Yaroslav Zhydyk" userId="feca11449df7c5ed" providerId="LiveId" clId="{DEB4F5E9-665E-474A-A1DA-C825ECC08A2E}" dt="2022-11-12T16:21:45.007" v="224" actId="164"/>
          <ac:grpSpMkLst>
            <pc:docMk/>
            <pc:sldMk cId="970726397" sldId="3998"/>
            <ac:grpSpMk id="19" creationId="{37C8B32C-6FBF-FC73-8A39-B14463DDA086}"/>
          </ac:grpSpMkLst>
        </pc:grpChg>
        <pc:grpChg chg="add mod">
          <ac:chgData name="Yaroslav Zhydyk" userId="feca11449df7c5ed" providerId="LiveId" clId="{DEB4F5E9-665E-474A-A1DA-C825ECC08A2E}" dt="2022-11-12T16:21:48.267" v="225" actId="1076"/>
          <ac:grpSpMkLst>
            <pc:docMk/>
            <pc:sldMk cId="970726397" sldId="3998"/>
            <ac:grpSpMk id="20" creationId="{C842020A-FC73-4458-A7D7-A2567B90C516}"/>
          </ac:grpSpMkLst>
        </pc:grpChg>
      </pc:sldChg>
      <pc:sldChg chg="addSp delSp modSp add mod ord modAnim">
        <pc:chgData name="Yaroslav Zhydyk" userId="feca11449df7c5ed" providerId="LiveId" clId="{DEB4F5E9-665E-474A-A1DA-C825ECC08A2E}" dt="2022-11-12T16:24:12.477" v="259" actId="465"/>
        <pc:sldMkLst>
          <pc:docMk/>
          <pc:sldMk cId="3645513892" sldId="3999"/>
        </pc:sldMkLst>
        <pc:spChg chg="mod">
          <ac:chgData name="Yaroslav Zhydyk" userId="feca11449df7c5ed" providerId="LiveId" clId="{DEB4F5E9-665E-474A-A1DA-C825ECC08A2E}" dt="2022-11-12T16:22:59.116" v="243" actId="207"/>
          <ac:spMkLst>
            <pc:docMk/>
            <pc:sldMk cId="3645513892" sldId="3999"/>
            <ac:spMk id="2" creationId="{89F93642-F6EC-2B94-8BCC-5AEDC9329EA6}"/>
          </ac:spMkLst>
        </pc:spChg>
        <pc:spChg chg="mod">
          <ac:chgData name="Yaroslav Zhydyk" userId="feca11449df7c5ed" providerId="LiveId" clId="{DEB4F5E9-665E-474A-A1DA-C825ECC08A2E}" dt="2022-11-12T16:23:28.900" v="248"/>
          <ac:spMkLst>
            <pc:docMk/>
            <pc:sldMk cId="3645513892" sldId="3999"/>
            <ac:spMk id="26" creationId="{553EE9A9-7562-666A-F0F9-11A56BCB2CBB}"/>
          </ac:spMkLst>
        </pc:spChg>
        <pc:spChg chg="mod">
          <ac:chgData name="Yaroslav Zhydyk" userId="feca11449df7c5ed" providerId="LiveId" clId="{DEB4F5E9-665E-474A-A1DA-C825ECC08A2E}" dt="2022-11-12T16:23:28.900" v="248"/>
          <ac:spMkLst>
            <pc:docMk/>
            <pc:sldMk cId="3645513892" sldId="3999"/>
            <ac:spMk id="28" creationId="{BD1F3584-E871-F1D8-BCB4-42E9CDFE2B40}"/>
          </ac:spMkLst>
        </pc:spChg>
        <pc:spChg chg="mod">
          <ac:chgData name="Yaroslav Zhydyk" userId="feca11449df7c5ed" providerId="LiveId" clId="{DEB4F5E9-665E-474A-A1DA-C825ECC08A2E}" dt="2022-11-12T16:23:28.900" v="248"/>
          <ac:spMkLst>
            <pc:docMk/>
            <pc:sldMk cId="3645513892" sldId="3999"/>
            <ac:spMk id="29" creationId="{F6D3858D-B054-24FB-01EB-9A21CFB0CFE1}"/>
          </ac:spMkLst>
        </pc:spChg>
        <pc:spChg chg="mod">
          <ac:chgData name="Yaroslav Zhydyk" userId="feca11449df7c5ed" providerId="LiveId" clId="{DEB4F5E9-665E-474A-A1DA-C825ECC08A2E}" dt="2022-11-12T16:23:28.900" v="248"/>
          <ac:spMkLst>
            <pc:docMk/>
            <pc:sldMk cId="3645513892" sldId="3999"/>
            <ac:spMk id="30" creationId="{16F2853E-57E6-D174-BD1D-C2C8BCDE4EAE}"/>
          </ac:spMkLst>
        </pc:spChg>
        <pc:spChg chg="mod">
          <ac:chgData name="Yaroslav Zhydyk" userId="feca11449df7c5ed" providerId="LiveId" clId="{DEB4F5E9-665E-474A-A1DA-C825ECC08A2E}" dt="2022-11-12T16:23:28.900" v="248"/>
          <ac:spMkLst>
            <pc:docMk/>
            <pc:sldMk cId="3645513892" sldId="3999"/>
            <ac:spMk id="31" creationId="{1830FCE9-A21F-499C-6BA4-CCEF31D67894}"/>
          </ac:spMkLst>
        </pc:spChg>
        <pc:spChg chg="mod">
          <ac:chgData name="Yaroslav Zhydyk" userId="feca11449df7c5ed" providerId="LiveId" clId="{DEB4F5E9-665E-474A-A1DA-C825ECC08A2E}" dt="2022-11-12T16:23:28.900" v="248"/>
          <ac:spMkLst>
            <pc:docMk/>
            <pc:sldMk cId="3645513892" sldId="3999"/>
            <ac:spMk id="32" creationId="{4DB0561C-F92C-CC62-D55A-CF4007024C4E}"/>
          </ac:spMkLst>
        </pc:spChg>
        <pc:spChg chg="mod">
          <ac:chgData name="Yaroslav Zhydyk" userId="feca11449df7c5ed" providerId="LiveId" clId="{DEB4F5E9-665E-474A-A1DA-C825ECC08A2E}" dt="2022-11-12T16:23:28.900" v="248"/>
          <ac:spMkLst>
            <pc:docMk/>
            <pc:sldMk cId="3645513892" sldId="3999"/>
            <ac:spMk id="33" creationId="{A72F6A04-13CC-4DB0-18E2-E5A48CEDA03D}"/>
          </ac:spMkLst>
        </pc:spChg>
        <pc:spChg chg="mod">
          <ac:chgData name="Yaroslav Zhydyk" userId="feca11449df7c5ed" providerId="LiveId" clId="{DEB4F5E9-665E-474A-A1DA-C825ECC08A2E}" dt="2022-11-12T16:23:28.900" v="248"/>
          <ac:spMkLst>
            <pc:docMk/>
            <pc:sldMk cId="3645513892" sldId="3999"/>
            <ac:spMk id="34" creationId="{8361FE77-DDFC-6EA2-EAEE-0D836F340597}"/>
          </ac:spMkLst>
        </pc:spChg>
        <pc:grpChg chg="add mod">
          <ac:chgData name="Yaroslav Zhydyk" userId="feca11449df7c5ed" providerId="LiveId" clId="{DEB4F5E9-665E-474A-A1DA-C825ECC08A2E}" dt="2022-11-12T16:23:48.561" v="251" actId="14100"/>
          <ac:grpSpMkLst>
            <pc:docMk/>
            <pc:sldMk cId="3645513892" sldId="3999"/>
            <ac:grpSpMk id="3" creationId="{ADEFDC3E-04EB-806B-A490-39DED754BA5C}"/>
          </ac:grpSpMkLst>
        </pc:grpChg>
        <pc:grpChg chg="del">
          <ac:chgData name="Yaroslav Zhydyk" userId="feca11449df7c5ed" providerId="LiveId" clId="{DEB4F5E9-665E-474A-A1DA-C825ECC08A2E}" dt="2022-11-12T16:23:00.485" v="244" actId="478"/>
          <ac:grpSpMkLst>
            <pc:docMk/>
            <pc:sldMk cId="3645513892" sldId="3999"/>
            <ac:grpSpMk id="20" creationId="{C842020A-FC73-4458-A7D7-A2567B90C516}"/>
          </ac:grpSpMkLst>
        </pc:grpChg>
        <pc:grpChg chg="add mod">
          <ac:chgData name="Yaroslav Zhydyk" userId="feca11449df7c5ed" providerId="LiveId" clId="{DEB4F5E9-665E-474A-A1DA-C825ECC08A2E}" dt="2022-11-12T16:23:40.606" v="249" actId="1076"/>
          <ac:grpSpMkLst>
            <pc:docMk/>
            <pc:sldMk cId="3645513892" sldId="3999"/>
            <ac:grpSpMk id="25" creationId="{D6D3AFC5-4B5C-5CFB-5B30-461AD923098B}"/>
          </ac:grpSpMkLst>
        </pc:grpChg>
        <pc:grpChg chg="mod">
          <ac:chgData name="Yaroslav Zhydyk" userId="feca11449df7c5ed" providerId="LiveId" clId="{DEB4F5E9-665E-474A-A1DA-C825ECC08A2E}" dt="2022-11-12T16:23:28.900" v="248"/>
          <ac:grpSpMkLst>
            <pc:docMk/>
            <pc:sldMk cId="3645513892" sldId="3999"/>
            <ac:grpSpMk id="27" creationId="{CB1EBE1B-69AE-F553-B6D5-255D8A3C2BD0}"/>
          </ac:grpSpMkLst>
        </pc:grpChg>
        <pc:picChg chg="add mod">
          <ac:chgData name="Yaroslav Zhydyk" userId="feca11449df7c5ed" providerId="LiveId" clId="{DEB4F5E9-665E-474A-A1DA-C825ECC08A2E}" dt="2022-11-12T16:24:07.187" v="257" actId="1076"/>
          <ac:picMkLst>
            <pc:docMk/>
            <pc:sldMk cId="3645513892" sldId="3999"/>
            <ac:picMk id="35" creationId="{EC5BB1AD-71B2-DEF6-243E-2D2A33DD5CC6}"/>
          </ac:picMkLst>
        </pc:picChg>
        <pc:picChg chg="add mod">
          <ac:chgData name="Yaroslav Zhydyk" userId="feca11449df7c5ed" providerId="LiveId" clId="{DEB4F5E9-665E-474A-A1DA-C825ECC08A2E}" dt="2022-11-12T16:24:12.477" v="259" actId="465"/>
          <ac:picMkLst>
            <pc:docMk/>
            <pc:sldMk cId="3645513892" sldId="3999"/>
            <ac:picMk id="36" creationId="{A3DC052A-C8B1-B42F-8F31-F0D0A4A0BD90}"/>
          </ac:picMkLst>
        </pc:picChg>
        <pc:picChg chg="add mod">
          <ac:chgData name="Yaroslav Zhydyk" userId="feca11449df7c5ed" providerId="LiveId" clId="{DEB4F5E9-665E-474A-A1DA-C825ECC08A2E}" dt="2022-11-12T16:24:12.477" v="259" actId="465"/>
          <ac:picMkLst>
            <pc:docMk/>
            <pc:sldMk cId="3645513892" sldId="3999"/>
            <ac:picMk id="37" creationId="{FA74C08A-6841-2420-1ED2-47E825735103}"/>
          </ac:picMkLst>
        </pc:picChg>
        <pc:picChg chg="add mod">
          <ac:chgData name="Yaroslav Zhydyk" userId="feca11449df7c5ed" providerId="LiveId" clId="{DEB4F5E9-665E-474A-A1DA-C825ECC08A2E}" dt="2022-11-12T16:24:12.477" v="259" actId="465"/>
          <ac:picMkLst>
            <pc:docMk/>
            <pc:sldMk cId="3645513892" sldId="3999"/>
            <ac:picMk id="38" creationId="{0C9E0C63-7309-2790-2F23-6B280556B181}"/>
          </ac:picMkLst>
        </pc:picChg>
        <pc:picChg chg="add mod">
          <ac:chgData name="Yaroslav Zhydyk" userId="feca11449df7c5ed" providerId="LiveId" clId="{DEB4F5E9-665E-474A-A1DA-C825ECC08A2E}" dt="2022-11-12T16:24:12.477" v="259" actId="465"/>
          <ac:picMkLst>
            <pc:docMk/>
            <pc:sldMk cId="3645513892" sldId="3999"/>
            <ac:picMk id="39" creationId="{20D2744B-1635-1C6A-2CAC-DB1E553C4EF2}"/>
          </ac:picMkLst>
        </pc:picChg>
        <pc:picChg chg="add mod">
          <ac:chgData name="Yaroslav Zhydyk" userId="feca11449df7c5ed" providerId="LiveId" clId="{DEB4F5E9-665E-474A-A1DA-C825ECC08A2E}" dt="2022-11-12T16:23:52.782" v="252" actId="1076"/>
          <ac:picMkLst>
            <pc:docMk/>
            <pc:sldMk cId="3645513892" sldId="3999"/>
            <ac:picMk id="40" creationId="{E6439414-29AC-6F93-0D8D-1404F39A6617}"/>
          </ac:picMkLst>
        </pc:picChg>
        <pc:cxnChg chg="mod">
          <ac:chgData name="Yaroslav Zhydyk" userId="feca11449df7c5ed" providerId="LiveId" clId="{DEB4F5E9-665E-474A-A1DA-C825ECC08A2E}" dt="2022-11-12T16:23:28.900" v="248"/>
          <ac:cxnSpMkLst>
            <pc:docMk/>
            <pc:sldMk cId="3645513892" sldId="3999"/>
            <ac:cxnSpMk id="4" creationId="{7EC5BCBD-7387-E707-C1FB-5737B87E2837}"/>
          </ac:cxnSpMkLst>
        </pc:cxnChg>
        <pc:cxnChg chg="mod">
          <ac:chgData name="Yaroslav Zhydyk" userId="feca11449df7c5ed" providerId="LiveId" clId="{DEB4F5E9-665E-474A-A1DA-C825ECC08A2E}" dt="2022-11-12T16:23:28.900" v="248"/>
          <ac:cxnSpMkLst>
            <pc:docMk/>
            <pc:sldMk cId="3645513892" sldId="3999"/>
            <ac:cxnSpMk id="5" creationId="{DC690A7D-C409-A0CD-81A1-17F1E05631B5}"/>
          </ac:cxnSpMkLst>
        </pc:cxnChg>
        <pc:cxnChg chg="mod">
          <ac:chgData name="Yaroslav Zhydyk" userId="feca11449df7c5ed" providerId="LiveId" clId="{DEB4F5E9-665E-474A-A1DA-C825ECC08A2E}" dt="2022-11-12T16:23:28.900" v="248"/>
          <ac:cxnSpMkLst>
            <pc:docMk/>
            <pc:sldMk cId="3645513892" sldId="3999"/>
            <ac:cxnSpMk id="21" creationId="{D5F877A8-A8EB-2ADB-8FF6-2375FF20EFC6}"/>
          </ac:cxnSpMkLst>
        </pc:cxnChg>
        <pc:cxnChg chg="mod">
          <ac:chgData name="Yaroslav Zhydyk" userId="feca11449df7c5ed" providerId="LiveId" clId="{DEB4F5E9-665E-474A-A1DA-C825ECC08A2E}" dt="2022-11-12T16:23:28.900" v="248"/>
          <ac:cxnSpMkLst>
            <pc:docMk/>
            <pc:sldMk cId="3645513892" sldId="3999"/>
            <ac:cxnSpMk id="22" creationId="{FE5BC1DE-1425-76B3-8810-0909A56EF477}"/>
          </ac:cxnSpMkLst>
        </pc:cxnChg>
        <pc:cxnChg chg="mod">
          <ac:chgData name="Yaroslav Zhydyk" userId="feca11449df7c5ed" providerId="LiveId" clId="{DEB4F5E9-665E-474A-A1DA-C825ECC08A2E}" dt="2022-11-12T16:23:28.900" v="248"/>
          <ac:cxnSpMkLst>
            <pc:docMk/>
            <pc:sldMk cId="3645513892" sldId="3999"/>
            <ac:cxnSpMk id="23" creationId="{389DB3E7-23A4-F276-2D12-88207B62E4DB}"/>
          </ac:cxnSpMkLst>
        </pc:cxnChg>
        <pc:cxnChg chg="mod">
          <ac:chgData name="Yaroslav Zhydyk" userId="feca11449df7c5ed" providerId="LiveId" clId="{DEB4F5E9-665E-474A-A1DA-C825ECC08A2E}" dt="2022-11-12T16:23:28.900" v="248"/>
          <ac:cxnSpMkLst>
            <pc:docMk/>
            <pc:sldMk cId="3645513892" sldId="3999"/>
            <ac:cxnSpMk id="24" creationId="{65E36B56-C16B-6C27-C77D-9301C25488E0}"/>
          </ac:cxnSpMkLst>
        </pc:cxnChg>
      </pc:sldChg>
      <pc:sldChg chg="addSp delSp modSp add mod">
        <pc:chgData name="Yaroslav Zhydyk" userId="feca11449df7c5ed" providerId="LiveId" clId="{DEB4F5E9-665E-474A-A1DA-C825ECC08A2E}" dt="2022-11-12T16:27:12.904" v="290" actId="207"/>
        <pc:sldMkLst>
          <pc:docMk/>
          <pc:sldMk cId="2326604954" sldId="4000"/>
        </pc:sldMkLst>
        <pc:spChg chg="mod topLvl">
          <ac:chgData name="Yaroslav Zhydyk" userId="feca11449df7c5ed" providerId="LiveId" clId="{DEB4F5E9-665E-474A-A1DA-C825ECC08A2E}" dt="2022-11-12T16:27:12.904" v="290" actId="207"/>
          <ac:spMkLst>
            <pc:docMk/>
            <pc:sldMk cId="2326604954" sldId="4000"/>
            <ac:spMk id="3" creationId="{F76560CB-F651-FBCF-87DF-82E27C3A2C53}"/>
          </ac:spMkLst>
        </pc:spChg>
        <pc:spChg chg="mod">
          <ac:chgData name="Yaroslav Zhydyk" userId="feca11449df7c5ed" providerId="LiveId" clId="{DEB4F5E9-665E-474A-A1DA-C825ECC08A2E}" dt="2022-11-12T16:25:27.346" v="272" actId="207"/>
          <ac:spMkLst>
            <pc:docMk/>
            <pc:sldMk cId="2326604954" sldId="4000"/>
            <ac:spMk id="5" creationId="{805F823C-4B4D-4EC8-15D7-D1C57874B9C0}"/>
          </ac:spMkLst>
        </pc:spChg>
        <pc:spChg chg="del mod topLvl">
          <ac:chgData name="Yaroslav Zhydyk" userId="feca11449df7c5ed" providerId="LiveId" clId="{DEB4F5E9-665E-474A-A1DA-C825ECC08A2E}" dt="2022-11-12T16:26:48.685" v="280" actId="478"/>
          <ac:spMkLst>
            <pc:docMk/>
            <pc:sldMk cId="2326604954" sldId="4000"/>
            <ac:spMk id="6" creationId="{DCFA21BE-59FE-8E72-08D1-BF0328808FBB}"/>
          </ac:spMkLst>
        </pc:spChg>
        <pc:spChg chg="mod topLvl">
          <ac:chgData name="Yaroslav Zhydyk" userId="feca11449df7c5ed" providerId="LiveId" clId="{DEB4F5E9-665E-474A-A1DA-C825ECC08A2E}" dt="2022-11-12T16:27:12.904" v="290" actId="207"/>
          <ac:spMkLst>
            <pc:docMk/>
            <pc:sldMk cId="2326604954" sldId="4000"/>
            <ac:spMk id="8" creationId="{80AAC6C9-8CEE-1B1E-9C7D-71DC0F527165}"/>
          </ac:spMkLst>
        </pc:spChg>
        <pc:spChg chg="del mod topLvl">
          <ac:chgData name="Yaroslav Zhydyk" userId="feca11449df7c5ed" providerId="LiveId" clId="{DEB4F5E9-665E-474A-A1DA-C825ECC08A2E}" dt="2022-11-12T16:26:55.413" v="283" actId="478"/>
          <ac:spMkLst>
            <pc:docMk/>
            <pc:sldMk cId="2326604954" sldId="4000"/>
            <ac:spMk id="9" creationId="{DC7767ED-81F6-DC37-AD32-87D8B7B79291}"/>
          </ac:spMkLst>
        </pc:spChg>
        <pc:spChg chg="mod topLvl">
          <ac:chgData name="Yaroslav Zhydyk" userId="feca11449df7c5ed" providerId="LiveId" clId="{DEB4F5E9-665E-474A-A1DA-C825ECC08A2E}" dt="2022-11-12T16:27:12.904" v="290" actId="207"/>
          <ac:spMkLst>
            <pc:docMk/>
            <pc:sldMk cId="2326604954" sldId="4000"/>
            <ac:spMk id="11" creationId="{C15E78D5-2FF1-FC8E-5DCD-C0615FA4ACE6}"/>
          </ac:spMkLst>
        </pc:spChg>
        <pc:spChg chg="del mod topLvl">
          <ac:chgData name="Yaroslav Zhydyk" userId="feca11449df7c5ed" providerId="LiveId" clId="{DEB4F5E9-665E-474A-A1DA-C825ECC08A2E}" dt="2022-11-12T16:26:55.413" v="283" actId="478"/>
          <ac:spMkLst>
            <pc:docMk/>
            <pc:sldMk cId="2326604954" sldId="4000"/>
            <ac:spMk id="12" creationId="{AC3207BC-DC8D-CAAA-0666-3668CE71C0FE}"/>
          </ac:spMkLst>
        </pc:spChg>
        <pc:spChg chg="mod topLvl">
          <ac:chgData name="Yaroslav Zhydyk" userId="feca11449df7c5ed" providerId="LiveId" clId="{DEB4F5E9-665E-474A-A1DA-C825ECC08A2E}" dt="2022-11-12T16:27:12.904" v="290" actId="207"/>
          <ac:spMkLst>
            <pc:docMk/>
            <pc:sldMk cId="2326604954" sldId="4000"/>
            <ac:spMk id="14" creationId="{9006F218-CA9B-42F2-3510-CB9C0AEAFA3B}"/>
          </ac:spMkLst>
        </pc:spChg>
        <pc:spChg chg="del mod topLvl">
          <ac:chgData name="Yaroslav Zhydyk" userId="feca11449df7c5ed" providerId="LiveId" clId="{DEB4F5E9-665E-474A-A1DA-C825ECC08A2E}" dt="2022-11-12T16:26:55.413" v="283" actId="478"/>
          <ac:spMkLst>
            <pc:docMk/>
            <pc:sldMk cId="2326604954" sldId="4000"/>
            <ac:spMk id="15" creationId="{60537BB4-0E63-2FAE-4FFF-4CB88C1B8A37}"/>
          </ac:spMkLst>
        </pc:spChg>
        <pc:spChg chg="mod topLvl">
          <ac:chgData name="Yaroslav Zhydyk" userId="feca11449df7c5ed" providerId="LiveId" clId="{DEB4F5E9-665E-474A-A1DA-C825ECC08A2E}" dt="2022-11-12T16:26:32.434" v="275" actId="165"/>
          <ac:spMkLst>
            <pc:docMk/>
            <pc:sldMk cId="2326604954" sldId="4000"/>
            <ac:spMk id="17" creationId="{E1E82DFE-93AD-A113-20CE-3546525DA9CD}"/>
          </ac:spMkLst>
        </pc:spChg>
        <pc:spChg chg="mod topLvl">
          <ac:chgData name="Yaroslav Zhydyk" userId="feca11449df7c5ed" providerId="LiveId" clId="{DEB4F5E9-665E-474A-A1DA-C825ECC08A2E}" dt="2022-11-12T16:26:32.434" v="275" actId="165"/>
          <ac:spMkLst>
            <pc:docMk/>
            <pc:sldMk cId="2326604954" sldId="4000"/>
            <ac:spMk id="18" creationId="{F8B21BA0-0608-F170-222F-B994E253DB18}"/>
          </ac:spMkLst>
        </pc:spChg>
        <pc:grpChg chg="add del mod">
          <ac:chgData name="Yaroslav Zhydyk" userId="feca11449df7c5ed" providerId="LiveId" clId="{DEB4F5E9-665E-474A-A1DA-C825ECC08A2E}" dt="2022-11-12T16:26:32.434" v="275" actId="165"/>
          <ac:grpSpMkLst>
            <pc:docMk/>
            <pc:sldMk cId="2326604954" sldId="4000"/>
            <ac:grpSpMk id="2" creationId="{684B9B03-12DF-E2CE-CBC3-6634ADEEF1E6}"/>
          </ac:grpSpMkLst>
        </pc:grpChg>
        <pc:grpChg chg="add del mod">
          <ac:chgData name="Yaroslav Zhydyk" userId="feca11449df7c5ed" providerId="LiveId" clId="{DEB4F5E9-665E-474A-A1DA-C825ECC08A2E}" dt="2022-11-12T16:26:32.434" v="275" actId="165"/>
          <ac:grpSpMkLst>
            <pc:docMk/>
            <pc:sldMk cId="2326604954" sldId="4000"/>
            <ac:grpSpMk id="7" creationId="{22FE1B2A-FCA0-3A97-5FDF-1E2D21F0EAC0}"/>
          </ac:grpSpMkLst>
        </pc:grpChg>
        <pc:grpChg chg="add del mod">
          <ac:chgData name="Yaroslav Zhydyk" userId="feca11449df7c5ed" providerId="LiveId" clId="{DEB4F5E9-665E-474A-A1DA-C825ECC08A2E}" dt="2022-11-12T16:26:32.434" v="275" actId="165"/>
          <ac:grpSpMkLst>
            <pc:docMk/>
            <pc:sldMk cId="2326604954" sldId="4000"/>
            <ac:grpSpMk id="10" creationId="{C51B15CE-8676-89F4-755F-8ECA03ABCA4A}"/>
          </ac:grpSpMkLst>
        </pc:grpChg>
        <pc:grpChg chg="add del mod">
          <ac:chgData name="Yaroslav Zhydyk" userId="feca11449df7c5ed" providerId="LiveId" clId="{DEB4F5E9-665E-474A-A1DA-C825ECC08A2E}" dt="2022-11-12T16:26:32.434" v="275" actId="165"/>
          <ac:grpSpMkLst>
            <pc:docMk/>
            <pc:sldMk cId="2326604954" sldId="4000"/>
            <ac:grpSpMk id="13" creationId="{F11E916A-BB42-0C3A-E743-8E6EFBC26B7C}"/>
          </ac:grpSpMkLst>
        </pc:grpChg>
        <pc:grpChg chg="add del mod">
          <ac:chgData name="Yaroslav Zhydyk" userId="feca11449df7c5ed" providerId="LiveId" clId="{DEB4F5E9-665E-474A-A1DA-C825ECC08A2E}" dt="2022-11-12T16:26:32.434" v="275" actId="165"/>
          <ac:grpSpMkLst>
            <pc:docMk/>
            <pc:sldMk cId="2326604954" sldId="4000"/>
            <ac:grpSpMk id="16" creationId="{C815B093-E6C4-5176-6084-1DBC9284CDBD}"/>
          </ac:grpSpMkLst>
        </pc:grpChg>
        <pc:picChg chg="add mod">
          <ac:chgData name="Yaroslav Zhydyk" userId="feca11449df7c5ed" providerId="LiveId" clId="{DEB4F5E9-665E-474A-A1DA-C825ECC08A2E}" dt="2022-11-12T16:26:51.585" v="282" actId="571"/>
          <ac:picMkLst>
            <pc:docMk/>
            <pc:sldMk cId="2326604954" sldId="4000"/>
            <ac:picMk id="19" creationId="{27929625-4A19-147B-4F83-A90FD99C7419}"/>
          </ac:picMkLst>
        </pc:picChg>
        <pc:picChg chg="add mod">
          <ac:chgData name="Yaroslav Zhydyk" userId="feca11449df7c5ed" providerId="LiveId" clId="{DEB4F5E9-665E-474A-A1DA-C825ECC08A2E}" dt="2022-11-12T16:27:05.536" v="288" actId="408"/>
          <ac:picMkLst>
            <pc:docMk/>
            <pc:sldMk cId="2326604954" sldId="4000"/>
            <ac:picMk id="20" creationId="{25D71FAB-6297-BC2F-FB72-FD56A2ADBF01}"/>
          </ac:picMkLst>
        </pc:picChg>
        <pc:picChg chg="add mod">
          <ac:chgData name="Yaroslav Zhydyk" userId="feca11449df7c5ed" providerId="LiveId" clId="{DEB4F5E9-665E-474A-A1DA-C825ECC08A2E}" dt="2022-11-12T16:27:05.536" v="288" actId="408"/>
          <ac:picMkLst>
            <pc:docMk/>
            <pc:sldMk cId="2326604954" sldId="4000"/>
            <ac:picMk id="21" creationId="{40BF7884-2DA6-F109-4E08-F9E15F4AE421}"/>
          </ac:picMkLst>
        </pc:picChg>
        <pc:picChg chg="add mod">
          <ac:chgData name="Yaroslav Zhydyk" userId="feca11449df7c5ed" providerId="LiveId" clId="{DEB4F5E9-665E-474A-A1DA-C825ECC08A2E}" dt="2022-11-12T16:27:05.536" v="288" actId="408"/>
          <ac:picMkLst>
            <pc:docMk/>
            <pc:sldMk cId="2326604954" sldId="4000"/>
            <ac:picMk id="22" creationId="{0BEC0EE6-FAD8-E924-D06C-5A4ED3EEB8D8}"/>
          </ac:picMkLst>
        </pc:picChg>
        <pc:picChg chg="add mod">
          <ac:chgData name="Yaroslav Zhydyk" userId="feca11449df7c5ed" providerId="LiveId" clId="{DEB4F5E9-665E-474A-A1DA-C825ECC08A2E}" dt="2022-11-12T16:27:05.536" v="288" actId="408"/>
          <ac:picMkLst>
            <pc:docMk/>
            <pc:sldMk cId="2326604954" sldId="4000"/>
            <ac:picMk id="1026" creationId="{0DE923C2-FAF4-C6A4-2451-7AB65A765A55}"/>
          </ac:picMkLst>
        </pc:picChg>
      </pc:sldChg>
      <pc:sldChg chg="addSp delSp modSp add mod ord">
        <pc:chgData name="Yaroslav Zhydyk" userId="feca11449df7c5ed" providerId="LiveId" clId="{DEB4F5E9-665E-474A-A1DA-C825ECC08A2E}" dt="2022-11-12T16:31:49.244" v="340"/>
        <pc:sldMkLst>
          <pc:docMk/>
          <pc:sldMk cId="3739837825" sldId="4001"/>
        </pc:sldMkLst>
        <pc:spChg chg="mod">
          <ac:chgData name="Yaroslav Zhydyk" userId="feca11449df7c5ed" providerId="LiveId" clId="{DEB4F5E9-665E-474A-A1DA-C825ECC08A2E}" dt="2022-11-12T16:31:37.102" v="339"/>
          <ac:spMkLst>
            <pc:docMk/>
            <pc:sldMk cId="3739837825" sldId="4001"/>
            <ac:spMk id="2" creationId="{B98A5077-16B2-5216-7BF4-892A3FC6E796}"/>
          </ac:spMkLst>
        </pc:spChg>
        <pc:spChg chg="add mod">
          <ac:chgData name="Yaroslav Zhydyk" userId="feca11449df7c5ed" providerId="LiveId" clId="{DEB4F5E9-665E-474A-A1DA-C825ECC08A2E}" dt="2022-11-12T16:31:49.244" v="340"/>
          <ac:spMkLst>
            <pc:docMk/>
            <pc:sldMk cId="3739837825" sldId="4001"/>
            <ac:spMk id="4" creationId="{1ECB4A92-CA42-8B12-1424-AB3FA5C7E9AD}"/>
          </ac:spMkLst>
        </pc:spChg>
        <pc:picChg chg="add mod">
          <ac:chgData name="Yaroslav Zhydyk" userId="feca11449df7c5ed" providerId="LiveId" clId="{DEB4F5E9-665E-474A-A1DA-C825ECC08A2E}" dt="2022-11-12T16:31:28.313" v="336" actId="197"/>
          <ac:picMkLst>
            <pc:docMk/>
            <pc:sldMk cId="3739837825" sldId="4001"/>
            <ac:picMk id="3" creationId="{30E040F5-CDEE-7CFE-AFD9-CAE29B26B014}"/>
          </ac:picMkLst>
        </pc:picChg>
        <pc:picChg chg="add del mod">
          <ac:chgData name="Yaroslav Zhydyk" userId="feca11449df7c5ed" providerId="LiveId" clId="{DEB4F5E9-665E-474A-A1DA-C825ECC08A2E}" dt="2022-11-12T16:29:29.042" v="312" actId="478"/>
          <ac:picMkLst>
            <pc:docMk/>
            <pc:sldMk cId="3739837825" sldId="4001"/>
            <ac:picMk id="2050" creationId="{55FAF027-FB2B-0789-B89B-AC67DAE2298D}"/>
          </ac:picMkLst>
        </pc:picChg>
      </pc:sldChg>
      <pc:sldChg chg="addSp modSp new add mod modAnim">
        <pc:chgData name="Yaroslav Zhydyk" userId="feca11449df7c5ed" providerId="LiveId" clId="{DEB4F5E9-665E-474A-A1DA-C825ECC08A2E}" dt="2022-11-12T16:33:56.846" v="371" actId="207"/>
        <pc:sldMkLst>
          <pc:docMk/>
          <pc:sldMk cId="73588490" sldId="4002"/>
        </pc:sldMkLst>
        <pc:spChg chg="mod">
          <ac:chgData name="Yaroslav Zhydyk" userId="feca11449df7c5ed" providerId="LiveId" clId="{DEB4F5E9-665E-474A-A1DA-C825ECC08A2E}" dt="2022-11-12T16:33:56.846" v="371" actId="207"/>
          <ac:spMkLst>
            <pc:docMk/>
            <pc:sldMk cId="73588490" sldId="4002"/>
            <ac:spMk id="2" creationId="{1ACAC15C-A918-7289-280A-A6B175F570AE}"/>
          </ac:spMkLst>
        </pc:spChg>
        <pc:spChg chg="add mod">
          <ac:chgData name="Yaroslav Zhydyk" userId="feca11449df7c5ed" providerId="LiveId" clId="{DEB4F5E9-665E-474A-A1DA-C825ECC08A2E}" dt="2022-11-12T16:33:11.923" v="358" actId="164"/>
          <ac:spMkLst>
            <pc:docMk/>
            <pc:sldMk cId="73588490" sldId="4002"/>
            <ac:spMk id="3" creationId="{62640153-B56D-3B2E-E359-3D15B9E4D9DD}"/>
          </ac:spMkLst>
        </pc:spChg>
        <pc:spChg chg="add mod">
          <ac:chgData name="Yaroslav Zhydyk" userId="feca11449df7c5ed" providerId="LiveId" clId="{DEB4F5E9-665E-474A-A1DA-C825ECC08A2E}" dt="2022-11-12T16:33:11.923" v="358" actId="164"/>
          <ac:spMkLst>
            <pc:docMk/>
            <pc:sldMk cId="73588490" sldId="4002"/>
            <ac:spMk id="4" creationId="{5517EF0C-910A-A070-B0F4-B9CF0796358B}"/>
          </ac:spMkLst>
        </pc:spChg>
        <pc:spChg chg="add mod">
          <ac:chgData name="Yaroslav Zhydyk" userId="feca11449df7c5ed" providerId="LiveId" clId="{DEB4F5E9-665E-474A-A1DA-C825ECC08A2E}" dt="2022-11-12T16:33:11.923" v="358" actId="164"/>
          <ac:spMkLst>
            <pc:docMk/>
            <pc:sldMk cId="73588490" sldId="4002"/>
            <ac:spMk id="5" creationId="{189FCE52-166B-2D52-284F-642FE1FDB6A3}"/>
          </ac:spMkLst>
        </pc:spChg>
        <pc:spChg chg="add mod">
          <ac:chgData name="Yaroslav Zhydyk" userId="feca11449df7c5ed" providerId="LiveId" clId="{DEB4F5E9-665E-474A-A1DA-C825ECC08A2E}" dt="2022-11-12T16:33:11.923" v="358" actId="164"/>
          <ac:spMkLst>
            <pc:docMk/>
            <pc:sldMk cId="73588490" sldId="4002"/>
            <ac:spMk id="6" creationId="{C63EB727-1434-1F0E-D1A4-243040B0E957}"/>
          </ac:spMkLst>
        </pc:spChg>
        <pc:spChg chg="mod">
          <ac:chgData name="Yaroslav Zhydyk" userId="feca11449df7c5ed" providerId="LiveId" clId="{DEB4F5E9-665E-474A-A1DA-C825ECC08A2E}" dt="2022-11-12T16:32:57.614" v="356"/>
          <ac:spMkLst>
            <pc:docMk/>
            <pc:sldMk cId="73588490" sldId="4002"/>
            <ac:spMk id="8" creationId="{A090127A-FA04-F102-E076-A48089066A01}"/>
          </ac:spMkLst>
        </pc:spChg>
        <pc:spChg chg="mod">
          <ac:chgData name="Yaroslav Zhydyk" userId="feca11449df7c5ed" providerId="LiveId" clId="{DEB4F5E9-665E-474A-A1DA-C825ECC08A2E}" dt="2022-11-12T16:32:57.614" v="356"/>
          <ac:spMkLst>
            <pc:docMk/>
            <pc:sldMk cId="73588490" sldId="4002"/>
            <ac:spMk id="9" creationId="{D1AA5A99-76BE-DF33-7F3A-5887A5ADB043}"/>
          </ac:spMkLst>
        </pc:spChg>
        <pc:spChg chg="mod">
          <ac:chgData name="Yaroslav Zhydyk" userId="feca11449df7c5ed" providerId="LiveId" clId="{DEB4F5E9-665E-474A-A1DA-C825ECC08A2E}" dt="2022-11-12T16:32:57.614" v="356"/>
          <ac:spMkLst>
            <pc:docMk/>
            <pc:sldMk cId="73588490" sldId="4002"/>
            <ac:spMk id="10" creationId="{36D5761D-D316-72C4-8C08-03E6BEE49B57}"/>
          </ac:spMkLst>
        </pc:spChg>
        <pc:spChg chg="mod">
          <ac:chgData name="Yaroslav Zhydyk" userId="feca11449df7c5ed" providerId="LiveId" clId="{DEB4F5E9-665E-474A-A1DA-C825ECC08A2E}" dt="2022-11-12T16:32:57.614" v="356"/>
          <ac:spMkLst>
            <pc:docMk/>
            <pc:sldMk cId="73588490" sldId="4002"/>
            <ac:spMk id="11" creationId="{A1DAD0D6-CAFF-1901-9834-C87F54EDDF35}"/>
          </ac:spMkLst>
        </pc:spChg>
        <pc:spChg chg="mod">
          <ac:chgData name="Yaroslav Zhydyk" userId="feca11449df7c5ed" providerId="LiveId" clId="{DEB4F5E9-665E-474A-A1DA-C825ECC08A2E}" dt="2022-11-12T16:32:57.614" v="356"/>
          <ac:spMkLst>
            <pc:docMk/>
            <pc:sldMk cId="73588490" sldId="4002"/>
            <ac:spMk id="12" creationId="{CFDAFFA9-A70B-EC2C-ED0E-121DFCFE716E}"/>
          </ac:spMkLst>
        </pc:spChg>
        <pc:spChg chg="add mod">
          <ac:chgData name="Yaroslav Zhydyk" userId="feca11449df7c5ed" providerId="LiveId" clId="{DEB4F5E9-665E-474A-A1DA-C825ECC08A2E}" dt="2022-11-12T16:33:11.923" v="358" actId="164"/>
          <ac:spMkLst>
            <pc:docMk/>
            <pc:sldMk cId="73588490" sldId="4002"/>
            <ac:spMk id="14" creationId="{A12B8F5F-73AA-DDC8-7C1A-C741C13F5715}"/>
          </ac:spMkLst>
        </pc:spChg>
        <pc:grpChg chg="add mod">
          <ac:chgData name="Yaroslav Zhydyk" userId="feca11449df7c5ed" providerId="LiveId" clId="{DEB4F5E9-665E-474A-A1DA-C825ECC08A2E}" dt="2022-11-12T16:33:11.923" v="358" actId="164"/>
          <ac:grpSpMkLst>
            <pc:docMk/>
            <pc:sldMk cId="73588490" sldId="4002"/>
            <ac:grpSpMk id="7" creationId="{0075B604-4815-8676-C557-ED46DCEFC6DE}"/>
          </ac:grpSpMkLst>
        </pc:grpChg>
        <pc:grpChg chg="add mod">
          <ac:chgData name="Yaroslav Zhydyk" userId="feca11449df7c5ed" providerId="LiveId" clId="{DEB4F5E9-665E-474A-A1DA-C825ECC08A2E}" dt="2022-11-12T16:33:11.923" v="358" actId="164"/>
          <ac:grpSpMkLst>
            <pc:docMk/>
            <pc:sldMk cId="73588490" sldId="4002"/>
            <ac:grpSpMk id="15" creationId="{D0C51244-C9FE-DC17-50D3-8813F586E3F3}"/>
          </ac:grpSpMkLst>
        </pc:grpChg>
        <pc:picChg chg="add mod">
          <ac:chgData name="Yaroslav Zhydyk" userId="feca11449df7c5ed" providerId="LiveId" clId="{DEB4F5E9-665E-474A-A1DA-C825ECC08A2E}" dt="2022-11-12T16:33:11.923" v="358" actId="164"/>
          <ac:picMkLst>
            <pc:docMk/>
            <pc:sldMk cId="73588490" sldId="4002"/>
            <ac:picMk id="13" creationId="{DE1FCBFB-5783-388A-CBA7-F9AC28AAEFAA}"/>
          </ac:picMkLst>
        </pc:picChg>
      </pc:sldChg>
      <pc:sldChg chg="addSp delSp modSp add mod ord">
        <pc:chgData name="Yaroslav Zhydyk" userId="feca11449df7c5ed" providerId="LiveId" clId="{DEB4F5E9-665E-474A-A1DA-C825ECC08A2E}" dt="2022-11-12T16:34:16.188" v="383" actId="478"/>
        <pc:sldMkLst>
          <pc:docMk/>
          <pc:sldMk cId="2306840203" sldId="4003"/>
        </pc:sldMkLst>
        <pc:spChg chg="add del">
          <ac:chgData name="Yaroslav Zhydyk" userId="feca11449df7c5ed" providerId="LiveId" clId="{DEB4F5E9-665E-474A-A1DA-C825ECC08A2E}" dt="2022-11-12T16:34:08.263" v="379" actId="22"/>
          <ac:spMkLst>
            <pc:docMk/>
            <pc:sldMk cId="2306840203" sldId="4003"/>
            <ac:spMk id="17" creationId="{052C52DA-183E-36D5-EB42-8BEC3E50DBC5}"/>
          </ac:spMkLst>
        </pc:spChg>
        <pc:spChg chg="mod">
          <ac:chgData name="Yaroslav Zhydyk" userId="feca11449df7c5ed" providerId="LiveId" clId="{DEB4F5E9-665E-474A-A1DA-C825ECC08A2E}" dt="2022-11-12T16:34:11.598" v="380"/>
          <ac:spMkLst>
            <pc:docMk/>
            <pc:sldMk cId="2306840203" sldId="4003"/>
            <ac:spMk id="19" creationId="{C6A24076-9716-2889-0EB5-927456630A10}"/>
          </ac:spMkLst>
        </pc:spChg>
        <pc:spChg chg="mod">
          <ac:chgData name="Yaroslav Zhydyk" userId="feca11449df7c5ed" providerId="LiveId" clId="{DEB4F5E9-665E-474A-A1DA-C825ECC08A2E}" dt="2022-11-12T16:34:11.598" v="380"/>
          <ac:spMkLst>
            <pc:docMk/>
            <pc:sldMk cId="2306840203" sldId="4003"/>
            <ac:spMk id="20" creationId="{F4882D2A-3ADC-88C0-83B6-FBC2C2B38DA0}"/>
          </ac:spMkLst>
        </pc:spChg>
        <pc:spChg chg="mod">
          <ac:chgData name="Yaroslav Zhydyk" userId="feca11449df7c5ed" providerId="LiveId" clId="{DEB4F5E9-665E-474A-A1DA-C825ECC08A2E}" dt="2022-11-12T16:34:11.598" v="380"/>
          <ac:spMkLst>
            <pc:docMk/>
            <pc:sldMk cId="2306840203" sldId="4003"/>
            <ac:spMk id="21" creationId="{A26D0AD7-49E7-9AFD-7662-3EA531D7D1BB}"/>
          </ac:spMkLst>
        </pc:spChg>
        <pc:spChg chg="mod">
          <ac:chgData name="Yaroslav Zhydyk" userId="feca11449df7c5ed" providerId="LiveId" clId="{DEB4F5E9-665E-474A-A1DA-C825ECC08A2E}" dt="2022-11-12T16:34:11.598" v="380"/>
          <ac:spMkLst>
            <pc:docMk/>
            <pc:sldMk cId="2306840203" sldId="4003"/>
            <ac:spMk id="22" creationId="{030568D8-A9D4-5D65-C891-7FA947415A22}"/>
          </ac:spMkLst>
        </pc:spChg>
        <pc:spChg chg="mod">
          <ac:chgData name="Yaroslav Zhydyk" userId="feca11449df7c5ed" providerId="LiveId" clId="{DEB4F5E9-665E-474A-A1DA-C825ECC08A2E}" dt="2022-11-12T16:34:11.598" v="380"/>
          <ac:spMkLst>
            <pc:docMk/>
            <pc:sldMk cId="2306840203" sldId="4003"/>
            <ac:spMk id="23" creationId="{40DBEBCD-34CE-9A38-913B-D2C217A20FC2}"/>
          </ac:spMkLst>
        </pc:spChg>
        <pc:spChg chg="mod">
          <ac:chgData name="Yaroslav Zhydyk" userId="feca11449df7c5ed" providerId="LiveId" clId="{DEB4F5E9-665E-474A-A1DA-C825ECC08A2E}" dt="2022-11-12T16:34:11.598" v="380"/>
          <ac:spMkLst>
            <pc:docMk/>
            <pc:sldMk cId="2306840203" sldId="4003"/>
            <ac:spMk id="24" creationId="{166BE555-FD4A-FA59-8DF0-C8BC3CD67E58}"/>
          </ac:spMkLst>
        </pc:spChg>
        <pc:spChg chg="mod">
          <ac:chgData name="Yaroslav Zhydyk" userId="feca11449df7c5ed" providerId="LiveId" clId="{DEB4F5E9-665E-474A-A1DA-C825ECC08A2E}" dt="2022-11-12T16:34:11.598" v="380"/>
          <ac:spMkLst>
            <pc:docMk/>
            <pc:sldMk cId="2306840203" sldId="4003"/>
            <ac:spMk id="26" creationId="{0C476399-3CE1-C29D-F29D-5621C0931198}"/>
          </ac:spMkLst>
        </pc:spChg>
        <pc:spChg chg="mod">
          <ac:chgData name="Yaroslav Zhydyk" userId="feca11449df7c5ed" providerId="LiveId" clId="{DEB4F5E9-665E-474A-A1DA-C825ECC08A2E}" dt="2022-11-12T16:34:11.598" v="380"/>
          <ac:spMkLst>
            <pc:docMk/>
            <pc:sldMk cId="2306840203" sldId="4003"/>
            <ac:spMk id="27" creationId="{8EA1DA51-2BCC-E144-3DFF-4527A51EA104}"/>
          </ac:spMkLst>
        </pc:spChg>
        <pc:spChg chg="mod">
          <ac:chgData name="Yaroslav Zhydyk" userId="feca11449df7c5ed" providerId="LiveId" clId="{DEB4F5E9-665E-474A-A1DA-C825ECC08A2E}" dt="2022-11-12T16:34:11.598" v="380"/>
          <ac:spMkLst>
            <pc:docMk/>
            <pc:sldMk cId="2306840203" sldId="4003"/>
            <ac:spMk id="28" creationId="{5C8E4196-4944-E5B0-0228-68A796F59A87}"/>
          </ac:spMkLst>
        </pc:spChg>
        <pc:spChg chg="mod">
          <ac:chgData name="Yaroslav Zhydyk" userId="feca11449df7c5ed" providerId="LiveId" clId="{DEB4F5E9-665E-474A-A1DA-C825ECC08A2E}" dt="2022-11-12T16:34:11.598" v="380"/>
          <ac:spMkLst>
            <pc:docMk/>
            <pc:sldMk cId="2306840203" sldId="4003"/>
            <ac:spMk id="29" creationId="{47A1FCFE-B09D-C4D4-3481-F56EFBA0A220}"/>
          </ac:spMkLst>
        </pc:spChg>
        <pc:spChg chg="mod">
          <ac:chgData name="Yaroslav Zhydyk" userId="feca11449df7c5ed" providerId="LiveId" clId="{DEB4F5E9-665E-474A-A1DA-C825ECC08A2E}" dt="2022-11-12T16:34:11.598" v="380"/>
          <ac:spMkLst>
            <pc:docMk/>
            <pc:sldMk cId="2306840203" sldId="4003"/>
            <ac:spMk id="30" creationId="{7922B619-86F3-821D-36AE-4C0B0A5CA5E2}"/>
          </ac:spMkLst>
        </pc:spChg>
        <pc:spChg chg="mod">
          <ac:chgData name="Yaroslav Zhydyk" userId="feca11449df7c5ed" providerId="LiveId" clId="{DEB4F5E9-665E-474A-A1DA-C825ECC08A2E}" dt="2022-11-12T16:34:11.598" v="380"/>
          <ac:spMkLst>
            <pc:docMk/>
            <pc:sldMk cId="2306840203" sldId="4003"/>
            <ac:spMk id="31" creationId="{B116061E-AB0A-042B-71CA-CFE6B3940D72}"/>
          </ac:spMkLst>
        </pc:spChg>
        <pc:grpChg chg="del mod">
          <ac:chgData name="Yaroslav Zhydyk" userId="feca11449df7c5ed" providerId="LiveId" clId="{DEB4F5E9-665E-474A-A1DA-C825ECC08A2E}" dt="2022-11-12T16:34:16.188" v="383" actId="478"/>
          <ac:grpSpMkLst>
            <pc:docMk/>
            <pc:sldMk cId="2306840203" sldId="4003"/>
            <ac:grpSpMk id="15" creationId="{D0C51244-C9FE-DC17-50D3-8813F586E3F3}"/>
          </ac:grpSpMkLst>
        </pc:grpChg>
        <pc:grpChg chg="add mod">
          <ac:chgData name="Yaroslav Zhydyk" userId="feca11449df7c5ed" providerId="LiveId" clId="{DEB4F5E9-665E-474A-A1DA-C825ECC08A2E}" dt="2022-11-12T16:34:14.895" v="382" actId="555"/>
          <ac:grpSpMkLst>
            <pc:docMk/>
            <pc:sldMk cId="2306840203" sldId="4003"/>
            <ac:grpSpMk id="18" creationId="{5542E877-7DD5-DB9D-8079-922252F75CD4}"/>
          </ac:grpSpMkLst>
        </pc:grpChg>
        <pc:grpChg chg="mod">
          <ac:chgData name="Yaroslav Zhydyk" userId="feca11449df7c5ed" providerId="LiveId" clId="{DEB4F5E9-665E-474A-A1DA-C825ECC08A2E}" dt="2022-11-12T16:34:11.598" v="380"/>
          <ac:grpSpMkLst>
            <pc:docMk/>
            <pc:sldMk cId="2306840203" sldId="4003"/>
            <ac:grpSpMk id="25" creationId="{6183128E-1C7A-3E60-3C1C-FCF0BE4B6EF1}"/>
          </ac:grpSpMkLst>
        </pc:grpChg>
      </pc:sldChg>
      <pc:sldChg chg="addSp delSp modSp add mod ord">
        <pc:chgData name="Yaroslav Zhydyk" userId="feca11449df7c5ed" providerId="LiveId" clId="{DEB4F5E9-665E-474A-A1DA-C825ECC08A2E}" dt="2022-11-12T16:34:35.100" v="395"/>
        <pc:sldMkLst>
          <pc:docMk/>
          <pc:sldMk cId="1341821603" sldId="4004"/>
        </pc:sldMkLst>
        <pc:spChg chg="mod">
          <ac:chgData name="Yaroslav Zhydyk" userId="feca11449df7c5ed" providerId="LiveId" clId="{DEB4F5E9-665E-474A-A1DA-C825ECC08A2E}" dt="2022-11-12T16:34:25.683" v="389"/>
          <ac:spMkLst>
            <pc:docMk/>
            <pc:sldMk cId="1341821603" sldId="4004"/>
            <ac:spMk id="4" creationId="{4E986946-E684-8CE8-F70E-7F0A9153F851}"/>
          </ac:spMkLst>
        </pc:spChg>
        <pc:spChg chg="mod">
          <ac:chgData name="Yaroslav Zhydyk" userId="feca11449df7c5ed" providerId="LiveId" clId="{DEB4F5E9-665E-474A-A1DA-C825ECC08A2E}" dt="2022-11-12T16:34:25.683" v="389"/>
          <ac:spMkLst>
            <pc:docMk/>
            <pc:sldMk cId="1341821603" sldId="4004"/>
            <ac:spMk id="5" creationId="{88FAE5AC-D6D0-9359-9D4C-E6C74B8F605F}"/>
          </ac:spMkLst>
        </pc:spChg>
        <pc:spChg chg="mod">
          <ac:chgData name="Yaroslav Zhydyk" userId="feca11449df7c5ed" providerId="LiveId" clId="{DEB4F5E9-665E-474A-A1DA-C825ECC08A2E}" dt="2022-11-12T16:34:25.683" v="389"/>
          <ac:spMkLst>
            <pc:docMk/>
            <pc:sldMk cId="1341821603" sldId="4004"/>
            <ac:spMk id="6" creationId="{87D0A73C-B00F-6D47-9639-ABF989F6023D}"/>
          </ac:spMkLst>
        </pc:spChg>
        <pc:spChg chg="mod">
          <ac:chgData name="Yaroslav Zhydyk" userId="feca11449df7c5ed" providerId="LiveId" clId="{DEB4F5E9-665E-474A-A1DA-C825ECC08A2E}" dt="2022-11-12T16:34:25.683" v="389"/>
          <ac:spMkLst>
            <pc:docMk/>
            <pc:sldMk cId="1341821603" sldId="4004"/>
            <ac:spMk id="7" creationId="{C2F64844-A84D-43AF-5485-FB612D4FBDB1}"/>
          </ac:spMkLst>
        </pc:spChg>
        <pc:spChg chg="mod">
          <ac:chgData name="Yaroslav Zhydyk" userId="feca11449df7c5ed" providerId="LiveId" clId="{DEB4F5E9-665E-474A-A1DA-C825ECC08A2E}" dt="2022-11-12T16:34:25.683" v="389"/>
          <ac:spMkLst>
            <pc:docMk/>
            <pc:sldMk cId="1341821603" sldId="4004"/>
            <ac:spMk id="9" creationId="{6C35DF15-2A52-944D-6D7C-9FB156A72A77}"/>
          </ac:spMkLst>
        </pc:spChg>
        <pc:spChg chg="mod">
          <ac:chgData name="Yaroslav Zhydyk" userId="feca11449df7c5ed" providerId="LiveId" clId="{DEB4F5E9-665E-474A-A1DA-C825ECC08A2E}" dt="2022-11-12T16:34:25.683" v="389"/>
          <ac:spMkLst>
            <pc:docMk/>
            <pc:sldMk cId="1341821603" sldId="4004"/>
            <ac:spMk id="10" creationId="{4268BE2C-3091-6B23-6978-66515E92949B}"/>
          </ac:spMkLst>
        </pc:spChg>
        <pc:spChg chg="mod">
          <ac:chgData name="Yaroslav Zhydyk" userId="feca11449df7c5ed" providerId="LiveId" clId="{DEB4F5E9-665E-474A-A1DA-C825ECC08A2E}" dt="2022-11-12T16:34:25.683" v="389"/>
          <ac:spMkLst>
            <pc:docMk/>
            <pc:sldMk cId="1341821603" sldId="4004"/>
            <ac:spMk id="11" creationId="{30010435-F44F-7B2C-C469-20252C50F4CF}"/>
          </ac:spMkLst>
        </pc:spChg>
        <pc:spChg chg="mod">
          <ac:chgData name="Yaroslav Zhydyk" userId="feca11449df7c5ed" providerId="LiveId" clId="{DEB4F5E9-665E-474A-A1DA-C825ECC08A2E}" dt="2022-11-12T16:34:25.683" v="389"/>
          <ac:spMkLst>
            <pc:docMk/>
            <pc:sldMk cId="1341821603" sldId="4004"/>
            <ac:spMk id="12" creationId="{56D350D9-207F-0D7D-C67A-58EA1E49AD4D}"/>
          </ac:spMkLst>
        </pc:spChg>
        <pc:spChg chg="mod">
          <ac:chgData name="Yaroslav Zhydyk" userId="feca11449df7c5ed" providerId="LiveId" clId="{DEB4F5E9-665E-474A-A1DA-C825ECC08A2E}" dt="2022-11-12T16:34:25.683" v="389"/>
          <ac:spMkLst>
            <pc:docMk/>
            <pc:sldMk cId="1341821603" sldId="4004"/>
            <ac:spMk id="13" creationId="{66C5388F-379D-76D9-FD4A-32D43B3D1F8B}"/>
          </ac:spMkLst>
        </pc:spChg>
        <pc:spChg chg="mod">
          <ac:chgData name="Yaroslav Zhydyk" userId="feca11449df7c5ed" providerId="LiveId" clId="{DEB4F5E9-665E-474A-A1DA-C825ECC08A2E}" dt="2022-11-12T16:34:25.683" v="389"/>
          <ac:spMkLst>
            <pc:docMk/>
            <pc:sldMk cId="1341821603" sldId="4004"/>
            <ac:spMk id="14" creationId="{5688B5B9-4C40-82BD-6C08-C71A76A505BB}"/>
          </ac:spMkLst>
        </pc:spChg>
        <pc:spChg chg="mod">
          <ac:chgData name="Yaroslav Zhydyk" userId="feca11449df7c5ed" providerId="LiveId" clId="{DEB4F5E9-665E-474A-A1DA-C825ECC08A2E}" dt="2022-11-12T16:34:25.683" v="389"/>
          <ac:spMkLst>
            <pc:docMk/>
            <pc:sldMk cId="1341821603" sldId="4004"/>
            <ac:spMk id="15" creationId="{D729C1C8-C546-00C2-4727-6504FB376A57}"/>
          </ac:spMkLst>
        </pc:spChg>
        <pc:spChg chg="mod">
          <ac:chgData name="Yaroslav Zhydyk" userId="feca11449df7c5ed" providerId="LiveId" clId="{DEB4F5E9-665E-474A-A1DA-C825ECC08A2E}" dt="2022-11-12T16:34:25.683" v="389"/>
          <ac:spMkLst>
            <pc:docMk/>
            <pc:sldMk cId="1341821603" sldId="4004"/>
            <ac:spMk id="16" creationId="{D923D8F6-B8E9-798E-318E-7BBB2CC3631F}"/>
          </ac:spMkLst>
        </pc:spChg>
        <pc:spChg chg="mod">
          <ac:chgData name="Yaroslav Zhydyk" userId="feca11449df7c5ed" providerId="LiveId" clId="{DEB4F5E9-665E-474A-A1DA-C825ECC08A2E}" dt="2022-11-12T16:34:25.683" v="389"/>
          <ac:spMkLst>
            <pc:docMk/>
            <pc:sldMk cId="1341821603" sldId="4004"/>
            <ac:spMk id="17" creationId="{C2CC83AE-0371-763A-7210-C72060315F4D}"/>
          </ac:spMkLst>
        </pc:spChg>
        <pc:spChg chg="mod">
          <ac:chgData name="Yaroslav Zhydyk" userId="feca11449df7c5ed" providerId="LiveId" clId="{DEB4F5E9-665E-474A-A1DA-C825ECC08A2E}" dt="2022-11-12T16:34:25.683" v="389"/>
          <ac:spMkLst>
            <pc:docMk/>
            <pc:sldMk cId="1341821603" sldId="4004"/>
            <ac:spMk id="32" creationId="{6EE3436F-6267-908E-216E-414FDAF1EB0E}"/>
          </ac:spMkLst>
        </pc:spChg>
        <pc:spChg chg="mod">
          <ac:chgData name="Yaroslav Zhydyk" userId="feca11449df7c5ed" providerId="LiveId" clId="{DEB4F5E9-665E-474A-A1DA-C825ECC08A2E}" dt="2022-11-12T16:34:25.683" v="389"/>
          <ac:spMkLst>
            <pc:docMk/>
            <pc:sldMk cId="1341821603" sldId="4004"/>
            <ac:spMk id="33" creationId="{B44AA2B2-C830-D30D-C5EA-80A4FCE6C8FB}"/>
          </ac:spMkLst>
        </pc:spChg>
        <pc:spChg chg="mod">
          <ac:chgData name="Yaroslav Zhydyk" userId="feca11449df7c5ed" providerId="LiveId" clId="{DEB4F5E9-665E-474A-A1DA-C825ECC08A2E}" dt="2022-11-12T16:34:25.683" v="389"/>
          <ac:spMkLst>
            <pc:docMk/>
            <pc:sldMk cId="1341821603" sldId="4004"/>
            <ac:spMk id="34" creationId="{F5E0D38F-6790-AB67-347D-29EF0A101F2B}"/>
          </ac:spMkLst>
        </pc:spChg>
        <pc:spChg chg="mod">
          <ac:chgData name="Yaroslav Zhydyk" userId="feca11449df7c5ed" providerId="LiveId" clId="{DEB4F5E9-665E-474A-A1DA-C825ECC08A2E}" dt="2022-11-12T16:34:25.683" v="389"/>
          <ac:spMkLst>
            <pc:docMk/>
            <pc:sldMk cId="1341821603" sldId="4004"/>
            <ac:spMk id="35" creationId="{E5EDEFBC-B575-B720-ADA6-34C8B6C77D94}"/>
          </ac:spMkLst>
        </pc:spChg>
        <pc:spChg chg="mod">
          <ac:chgData name="Yaroslav Zhydyk" userId="feca11449df7c5ed" providerId="LiveId" clId="{DEB4F5E9-665E-474A-A1DA-C825ECC08A2E}" dt="2022-11-12T16:34:25.683" v="389"/>
          <ac:spMkLst>
            <pc:docMk/>
            <pc:sldMk cId="1341821603" sldId="4004"/>
            <ac:spMk id="36" creationId="{1A9F352C-BF6C-485C-AFC5-10F6F2EACF0E}"/>
          </ac:spMkLst>
        </pc:spChg>
        <pc:spChg chg="mod">
          <ac:chgData name="Yaroslav Zhydyk" userId="feca11449df7c5ed" providerId="LiveId" clId="{DEB4F5E9-665E-474A-A1DA-C825ECC08A2E}" dt="2022-11-12T16:34:25.683" v="389"/>
          <ac:spMkLst>
            <pc:docMk/>
            <pc:sldMk cId="1341821603" sldId="4004"/>
            <ac:spMk id="37" creationId="{AEBF9424-67AF-A33E-51EA-EF0D5040D92E}"/>
          </ac:spMkLst>
        </pc:spChg>
        <pc:spChg chg="mod">
          <ac:chgData name="Yaroslav Zhydyk" userId="feca11449df7c5ed" providerId="LiveId" clId="{DEB4F5E9-665E-474A-A1DA-C825ECC08A2E}" dt="2022-11-12T16:34:25.683" v="389"/>
          <ac:spMkLst>
            <pc:docMk/>
            <pc:sldMk cId="1341821603" sldId="4004"/>
            <ac:spMk id="38" creationId="{715BDD50-1D84-AD21-2ABF-A2C06D66E13E}"/>
          </ac:spMkLst>
        </pc:spChg>
        <pc:spChg chg="mod">
          <ac:chgData name="Yaroslav Zhydyk" userId="feca11449df7c5ed" providerId="LiveId" clId="{DEB4F5E9-665E-474A-A1DA-C825ECC08A2E}" dt="2022-11-12T16:34:25.683" v="389"/>
          <ac:spMkLst>
            <pc:docMk/>
            <pc:sldMk cId="1341821603" sldId="4004"/>
            <ac:spMk id="40" creationId="{7E7A7EF7-B7E4-D7CF-3EC7-197E2FF7F6FA}"/>
          </ac:spMkLst>
        </pc:spChg>
        <pc:spChg chg="mod">
          <ac:chgData name="Yaroslav Zhydyk" userId="feca11449df7c5ed" providerId="LiveId" clId="{DEB4F5E9-665E-474A-A1DA-C825ECC08A2E}" dt="2022-11-12T16:34:25.683" v="389"/>
          <ac:spMkLst>
            <pc:docMk/>
            <pc:sldMk cId="1341821603" sldId="4004"/>
            <ac:spMk id="41" creationId="{21AB2764-5DBA-0B2E-95B5-5C6E43359B77}"/>
          </ac:spMkLst>
        </pc:spChg>
        <pc:spChg chg="mod">
          <ac:chgData name="Yaroslav Zhydyk" userId="feca11449df7c5ed" providerId="LiveId" clId="{DEB4F5E9-665E-474A-A1DA-C825ECC08A2E}" dt="2022-11-12T16:34:25.683" v="389"/>
          <ac:spMkLst>
            <pc:docMk/>
            <pc:sldMk cId="1341821603" sldId="4004"/>
            <ac:spMk id="42" creationId="{3311BE39-1235-BA08-3DBD-DE0ACF40F877}"/>
          </ac:spMkLst>
        </pc:spChg>
        <pc:spChg chg="mod">
          <ac:chgData name="Yaroslav Zhydyk" userId="feca11449df7c5ed" providerId="LiveId" clId="{DEB4F5E9-665E-474A-A1DA-C825ECC08A2E}" dt="2022-11-12T16:34:25.683" v="389"/>
          <ac:spMkLst>
            <pc:docMk/>
            <pc:sldMk cId="1341821603" sldId="4004"/>
            <ac:spMk id="43" creationId="{B5EB82C6-F7DE-3AB8-D530-ECC60CC99EE4}"/>
          </ac:spMkLst>
        </pc:spChg>
        <pc:spChg chg="mod">
          <ac:chgData name="Yaroslav Zhydyk" userId="feca11449df7c5ed" providerId="LiveId" clId="{DEB4F5E9-665E-474A-A1DA-C825ECC08A2E}" dt="2022-11-12T16:34:25.683" v="389"/>
          <ac:spMkLst>
            <pc:docMk/>
            <pc:sldMk cId="1341821603" sldId="4004"/>
            <ac:spMk id="44" creationId="{EBE53013-A4BD-110C-8B69-A2B11520582B}"/>
          </ac:spMkLst>
        </pc:spChg>
        <pc:spChg chg="mod">
          <ac:chgData name="Yaroslav Zhydyk" userId="feca11449df7c5ed" providerId="LiveId" clId="{DEB4F5E9-665E-474A-A1DA-C825ECC08A2E}" dt="2022-11-12T16:34:25.683" v="389"/>
          <ac:spMkLst>
            <pc:docMk/>
            <pc:sldMk cId="1341821603" sldId="4004"/>
            <ac:spMk id="45" creationId="{8895FB8C-4177-92BB-B599-6B2C29F020A5}"/>
          </ac:spMkLst>
        </pc:spChg>
        <pc:spChg chg="mod">
          <ac:chgData name="Yaroslav Zhydyk" userId="feca11449df7c5ed" providerId="LiveId" clId="{DEB4F5E9-665E-474A-A1DA-C825ECC08A2E}" dt="2022-11-12T16:34:25.683" v="389"/>
          <ac:spMkLst>
            <pc:docMk/>
            <pc:sldMk cId="1341821603" sldId="4004"/>
            <ac:spMk id="46" creationId="{71A7139E-7E92-409E-4984-C6CF675C62D3}"/>
          </ac:spMkLst>
        </pc:spChg>
        <pc:spChg chg="mod">
          <ac:chgData name="Yaroslav Zhydyk" userId="feca11449df7c5ed" providerId="LiveId" clId="{DEB4F5E9-665E-474A-A1DA-C825ECC08A2E}" dt="2022-11-12T16:34:25.683" v="389"/>
          <ac:spMkLst>
            <pc:docMk/>
            <pc:sldMk cId="1341821603" sldId="4004"/>
            <ac:spMk id="47" creationId="{DBBB2200-7A14-178D-5D94-95B4D3E11598}"/>
          </ac:spMkLst>
        </pc:spChg>
        <pc:spChg chg="mod">
          <ac:chgData name="Yaroslav Zhydyk" userId="feca11449df7c5ed" providerId="LiveId" clId="{DEB4F5E9-665E-474A-A1DA-C825ECC08A2E}" dt="2022-11-12T16:34:25.683" v="389"/>
          <ac:spMkLst>
            <pc:docMk/>
            <pc:sldMk cId="1341821603" sldId="4004"/>
            <ac:spMk id="50" creationId="{42CD4FBA-827F-9A78-81FD-72D83D8AAA46}"/>
          </ac:spMkLst>
        </pc:spChg>
        <pc:spChg chg="mod">
          <ac:chgData name="Yaroslav Zhydyk" userId="feca11449df7c5ed" providerId="LiveId" clId="{DEB4F5E9-665E-474A-A1DA-C825ECC08A2E}" dt="2022-11-12T16:34:25.683" v="389"/>
          <ac:spMkLst>
            <pc:docMk/>
            <pc:sldMk cId="1341821603" sldId="4004"/>
            <ac:spMk id="51" creationId="{900A98FD-7873-96D2-399F-CD9B3A7044B6}"/>
          </ac:spMkLst>
        </pc:spChg>
        <pc:grpChg chg="add mod">
          <ac:chgData name="Yaroslav Zhydyk" userId="feca11449df7c5ed" providerId="LiveId" clId="{DEB4F5E9-665E-474A-A1DA-C825ECC08A2E}" dt="2022-11-12T16:34:28.557" v="391" actId="555"/>
          <ac:grpSpMkLst>
            <pc:docMk/>
            <pc:sldMk cId="1341821603" sldId="4004"/>
            <ac:grpSpMk id="3" creationId="{BB28743A-76EA-7E17-7C5C-2419C8D0218B}"/>
          </ac:grpSpMkLst>
        </pc:grpChg>
        <pc:grpChg chg="mod">
          <ac:chgData name="Yaroslav Zhydyk" userId="feca11449df7c5ed" providerId="LiveId" clId="{DEB4F5E9-665E-474A-A1DA-C825ECC08A2E}" dt="2022-11-12T16:34:25.683" v="389"/>
          <ac:grpSpMkLst>
            <pc:docMk/>
            <pc:sldMk cId="1341821603" sldId="4004"/>
            <ac:grpSpMk id="8" creationId="{1E95105D-9796-ADD6-8410-3FB7F6CFDA56}"/>
          </ac:grpSpMkLst>
        </pc:grpChg>
        <pc:grpChg chg="del mod">
          <ac:chgData name="Yaroslav Zhydyk" userId="feca11449df7c5ed" providerId="LiveId" clId="{DEB4F5E9-665E-474A-A1DA-C825ECC08A2E}" dt="2022-11-12T16:34:29.886" v="392" actId="478"/>
          <ac:grpSpMkLst>
            <pc:docMk/>
            <pc:sldMk cId="1341821603" sldId="4004"/>
            <ac:grpSpMk id="18" creationId="{5542E877-7DD5-DB9D-8079-922252F75CD4}"/>
          </ac:grpSpMkLst>
        </pc:grpChg>
        <pc:grpChg chg="mod">
          <ac:chgData name="Yaroslav Zhydyk" userId="feca11449df7c5ed" providerId="LiveId" clId="{DEB4F5E9-665E-474A-A1DA-C825ECC08A2E}" dt="2022-11-12T16:34:25.683" v="389"/>
          <ac:grpSpMkLst>
            <pc:docMk/>
            <pc:sldMk cId="1341821603" sldId="4004"/>
            <ac:grpSpMk id="39" creationId="{68EE3ED6-9561-641F-0B87-527C49F1CEE9}"/>
          </ac:grpSpMkLst>
        </pc:grpChg>
        <pc:cxnChg chg="mod">
          <ac:chgData name="Yaroslav Zhydyk" userId="feca11449df7c5ed" providerId="LiveId" clId="{DEB4F5E9-665E-474A-A1DA-C825ECC08A2E}" dt="2022-11-12T16:34:25.683" v="389"/>
          <ac:cxnSpMkLst>
            <pc:docMk/>
            <pc:sldMk cId="1341821603" sldId="4004"/>
            <ac:cxnSpMk id="48" creationId="{9FD1A9FC-DF17-B8DB-6CF3-B1CC607B670A}"/>
          </ac:cxnSpMkLst>
        </pc:cxnChg>
        <pc:cxnChg chg="mod">
          <ac:chgData name="Yaroslav Zhydyk" userId="feca11449df7c5ed" providerId="LiveId" clId="{DEB4F5E9-665E-474A-A1DA-C825ECC08A2E}" dt="2022-11-12T16:34:25.683" v="389"/>
          <ac:cxnSpMkLst>
            <pc:docMk/>
            <pc:sldMk cId="1341821603" sldId="4004"/>
            <ac:cxnSpMk id="49" creationId="{630F693D-894E-51D0-2A7F-A56253788F15}"/>
          </ac:cxnSpMkLst>
        </pc:cxnChg>
      </pc:sldChg>
      <pc:sldChg chg="modSp add mod ord">
        <pc:chgData name="Yaroslav Zhydyk" userId="feca11449df7c5ed" providerId="LiveId" clId="{DEB4F5E9-665E-474A-A1DA-C825ECC08A2E}" dt="2022-11-12T16:35:17.802" v="446"/>
        <pc:sldMkLst>
          <pc:docMk/>
          <pc:sldMk cId="2816014190" sldId="4005"/>
        </pc:sldMkLst>
        <pc:spChg chg="mod">
          <ac:chgData name="Yaroslav Zhydyk" userId="feca11449df7c5ed" providerId="LiveId" clId="{DEB4F5E9-665E-474A-A1DA-C825ECC08A2E}" dt="2022-11-12T16:35:17.802" v="446"/>
          <ac:spMkLst>
            <pc:docMk/>
            <pc:sldMk cId="2816014190" sldId="4005"/>
            <ac:spMk id="2" creationId="{B98A5077-16B2-5216-7BF4-892A3FC6E796}"/>
          </ac:spMkLst>
        </pc:spChg>
      </pc:sldChg>
      <pc:sldChg chg="addSp modSp new add mod">
        <pc:chgData name="Yaroslav Zhydyk" userId="feca11449df7c5ed" providerId="LiveId" clId="{DEB4F5E9-665E-474A-A1DA-C825ECC08A2E}" dt="2022-11-12T16:36:32.592" v="458" actId="207"/>
        <pc:sldMkLst>
          <pc:docMk/>
          <pc:sldMk cId="557703708" sldId="4006"/>
        </pc:sldMkLst>
        <pc:spChg chg="mod">
          <ac:chgData name="Yaroslav Zhydyk" userId="feca11449df7c5ed" providerId="LiveId" clId="{DEB4F5E9-665E-474A-A1DA-C825ECC08A2E}" dt="2022-11-12T16:35:54.828" v="452" actId="207"/>
          <ac:spMkLst>
            <pc:docMk/>
            <pc:sldMk cId="557703708" sldId="4006"/>
            <ac:spMk id="2" creationId="{CF2BB424-F0DA-61D3-FABA-A7B73AAE46CF}"/>
          </ac:spMkLst>
        </pc:spChg>
        <pc:spChg chg="add mod">
          <ac:chgData name="Yaroslav Zhydyk" userId="feca11449df7c5ed" providerId="LiveId" clId="{DEB4F5E9-665E-474A-A1DA-C825ECC08A2E}" dt="2022-11-12T16:36:18.451" v="455" actId="1076"/>
          <ac:spMkLst>
            <pc:docMk/>
            <pc:sldMk cId="557703708" sldId="4006"/>
            <ac:spMk id="3" creationId="{00C6A584-8CA4-7CCE-87EA-BDD217122069}"/>
          </ac:spMkLst>
        </pc:spChg>
        <pc:spChg chg="add mod">
          <ac:chgData name="Yaroslav Zhydyk" userId="feca11449df7c5ed" providerId="LiveId" clId="{DEB4F5E9-665E-474A-A1DA-C825ECC08A2E}" dt="2022-11-12T16:36:23.021" v="456" actId="207"/>
          <ac:spMkLst>
            <pc:docMk/>
            <pc:sldMk cId="557703708" sldId="4006"/>
            <ac:spMk id="4" creationId="{FBDB22B6-9949-B531-62C6-30D6D4585A6D}"/>
          </ac:spMkLst>
        </pc:spChg>
        <pc:spChg chg="add mod">
          <ac:chgData name="Yaroslav Zhydyk" userId="feca11449df7c5ed" providerId="LiveId" clId="{DEB4F5E9-665E-474A-A1DA-C825ECC08A2E}" dt="2022-11-12T16:36:23.021" v="456" actId="207"/>
          <ac:spMkLst>
            <pc:docMk/>
            <pc:sldMk cId="557703708" sldId="4006"/>
            <ac:spMk id="5" creationId="{F3BD04DE-E74D-CB0D-F1FA-A4DB1E071290}"/>
          </ac:spMkLst>
        </pc:spChg>
        <pc:spChg chg="add mod">
          <ac:chgData name="Yaroslav Zhydyk" userId="feca11449df7c5ed" providerId="LiveId" clId="{DEB4F5E9-665E-474A-A1DA-C825ECC08A2E}" dt="2022-11-12T16:36:23.021" v="456" actId="207"/>
          <ac:spMkLst>
            <pc:docMk/>
            <pc:sldMk cId="557703708" sldId="4006"/>
            <ac:spMk id="6" creationId="{CC22417C-6EE4-2C8A-2482-FEC467C32A4F}"/>
          </ac:spMkLst>
        </pc:spChg>
        <pc:spChg chg="add mod">
          <ac:chgData name="Yaroslav Zhydyk" userId="feca11449df7c5ed" providerId="LiveId" clId="{DEB4F5E9-665E-474A-A1DA-C825ECC08A2E}" dt="2022-11-12T16:36:23.021" v="456" actId="207"/>
          <ac:spMkLst>
            <pc:docMk/>
            <pc:sldMk cId="557703708" sldId="4006"/>
            <ac:spMk id="7" creationId="{69D47825-94B8-0A96-0284-A8EAC59F29CC}"/>
          </ac:spMkLst>
        </pc:spChg>
        <pc:spChg chg="add mod">
          <ac:chgData name="Yaroslav Zhydyk" userId="feca11449df7c5ed" providerId="LiveId" clId="{DEB4F5E9-665E-474A-A1DA-C825ECC08A2E}" dt="2022-11-12T16:36:18.451" v="455" actId="1076"/>
          <ac:spMkLst>
            <pc:docMk/>
            <pc:sldMk cId="557703708" sldId="4006"/>
            <ac:spMk id="8" creationId="{6462242D-14A8-EF78-01A9-AB0A24D28FC4}"/>
          </ac:spMkLst>
        </pc:spChg>
        <pc:spChg chg="add mod">
          <ac:chgData name="Yaroslav Zhydyk" userId="feca11449df7c5ed" providerId="LiveId" clId="{DEB4F5E9-665E-474A-A1DA-C825ECC08A2E}" dt="2022-11-12T16:36:18.451" v="455" actId="1076"/>
          <ac:spMkLst>
            <pc:docMk/>
            <pc:sldMk cId="557703708" sldId="4006"/>
            <ac:spMk id="9" creationId="{410E9422-F94A-4621-63F8-ED67176A0ED2}"/>
          </ac:spMkLst>
        </pc:spChg>
        <pc:spChg chg="add mod">
          <ac:chgData name="Yaroslav Zhydyk" userId="feca11449df7c5ed" providerId="LiveId" clId="{DEB4F5E9-665E-474A-A1DA-C825ECC08A2E}" dt="2022-11-12T16:36:18.451" v="455" actId="1076"/>
          <ac:spMkLst>
            <pc:docMk/>
            <pc:sldMk cId="557703708" sldId="4006"/>
            <ac:spMk id="10" creationId="{B6A43362-94BC-AB11-16D6-0FA2EE4549EE}"/>
          </ac:spMkLst>
        </pc:spChg>
        <pc:spChg chg="add mod">
          <ac:chgData name="Yaroslav Zhydyk" userId="feca11449df7c5ed" providerId="LiveId" clId="{DEB4F5E9-665E-474A-A1DA-C825ECC08A2E}" dt="2022-11-12T16:36:23.021" v="456" actId="207"/>
          <ac:spMkLst>
            <pc:docMk/>
            <pc:sldMk cId="557703708" sldId="4006"/>
            <ac:spMk id="11" creationId="{5A216CC8-A1D3-EDAE-8B5B-84074476AB44}"/>
          </ac:spMkLst>
        </pc:spChg>
        <pc:spChg chg="add mod">
          <ac:chgData name="Yaroslav Zhydyk" userId="feca11449df7c5ed" providerId="LiveId" clId="{DEB4F5E9-665E-474A-A1DA-C825ECC08A2E}" dt="2022-11-12T16:36:18.451" v="455" actId="1076"/>
          <ac:spMkLst>
            <pc:docMk/>
            <pc:sldMk cId="557703708" sldId="4006"/>
            <ac:spMk id="12" creationId="{CEECC6CB-ABA1-3A96-BD71-C7F66AB8E7E5}"/>
          </ac:spMkLst>
        </pc:spChg>
        <pc:spChg chg="add mod">
          <ac:chgData name="Yaroslav Zhydyk" userId="feca11449df7c5ed" providerId="LiveId" clId="{DEB4F5E9-665E-474A-A1DA-C825ECC08A2E}" dt="2022-11-12T16:36:32.592" v="458" actId="207"/>
          <ac:spMkLst>
            <pc:docMk/>
            <pc:sldMk cId="557703708" sldId="4006"/>
            <ac:spMk id="14" creationId="{66402260-5611-4E63-778E-1F415D99A384}"/>
          </ac:spMkLst>
        </pc:spChg>
        <pc:picChg chg="add mod">
          <ac:chgData name="Yaroslav Zhydyk" userId="feca11449df7c5ed" providerId="LiveId" clId="{DEB4F5E9-665E-474A-A1DA-C825ECC08A2E}" dt="2022-11-12T16:36:13.076" v="454" actId="1076"/>
          <ac:picMkLst>
            <pc:docMk/>
            <pc:sldMk cId="557703708" sldId="4006"/>
            <ac:picMk id="13" creationId="{053119C0-2BC9-9320-D997-C88D7CAC7FC2}"/>
          </ac:picMkLst>
        </pc:picChg>
      </pc:sldChg>
      <pc:sldChg chg="addSp delSp modSp add mod">
        <pc:chgData name="Yaroslav Zhydyk" userId="feca11449df7c5ed" providerId="LiveId" clId="{DEB4F5E9-665E-474A-A1DA-C825ECC08A2E}" dt="2022-11-12T16:38:38.246" v="503" actId="408"/>
        <pc:sldMkLst>
          <pc:docMk/>
          <pc:sldMk cId="1966932326" sldId="4007"/>
        </pc:sldMkLst>
        <pc:spChg chg="mod">
          <ac:chgData name="Yaroslav Zhydyk" userId="feca11449df7c5ed" providerId="LiveId" clId="{DEB4F5E9-665E-474A-A1DA-C825ECC08A2E}" dt="2022-11-12T16:36:48.384" v="465" actId="207"/>
          <ac:spMkLst>
            <pc:docMk/>
            <pc:sldMk cId="1966932326" sldId="4007"/>
            <ac:spMk id="2" creationId="{CF2BB424-F0DA-61D3-FABA-A7B73AAE46CF}"/>
          </ac:spMkLst>
        </pc:spChg>
        <pc:spChg chg="del">
          <ac:chgData name="Yaroslav Zhydyk" userId="feca11449df7c5ed" providerId="LiveId" clId="{DEB4F5E9-665E-474A-A1DA-C825ECC08A2E}" dt="2022-11-12T16:36:51.872" v="466" actId="478"/>
          <ac:spMkLst>
            <pc:docMk/>
            <pc:sldMk cId="1966932326" sldId="4007"/>
            <ac:spMk id="3" creationId="{00C6A584-8CA4-7CCE-87EA-BDD217122069}"/>
          </ac:spMkLst>
        </pc:spChg>
        <pc:spChg chg="del">
          <ac:chgData name="Yaroslav Zhydyk" userId="feca11449df7c5ed" providerId="LiveId" clId="{DEB4F5E9-665E-474A-A1DA-C825ECC08A2E}" dt="2022-11-12T16:36:51.872" v="466" actId="478"/>
          <ac:spMkLst>
            <pc:docMk/>
            <pc:sldMk cId="1966932326" sldId="4007"/>
            <ac:spMk id="4" creationId="{FBDB22B6-9949-B531-62C6-30D6D4585A6D}"/>
          </ac:spMkLst>
        </pc:spChg>
        <pc:spChg chg="del">
          <ac:chgData name="Yaroslav Zhydyk" userId="feca11449df7c5ed" providerId="LiveId" clId="{DEB4F5E9-665E-474A-A1DA-C825ECC08A2E}" dt="2022-11-12T16:36:51.872" v="466" actId="478"/>
          <ac:spMkLst>
            <pc:docMk/>
            <pc:sldMk cId="1966932326" sldId="4007"/>
            <ac:spMk id="5" creationId="{F3BD04DE-E74D-CB0D-F1FA-A4DB1E071290}"/>
          </ac:spMkLst>
        </pc:spChg>
        <pc:spChg chg="del">
          <ac:chgData name="Yaroslav Zhydyk" userId="feca11449df7c5ed" providerId="LiveId" clId="{DEB4F5E9-665E-474A-A1DA-C825ECC08A2E}" dt="2022-11-12T16:36:51.872" v="466" actId="478"/>
          <ac:spMkLst>
            <pc:docMk/>
            <pc:sldMk cId="1966932326" sldId="4007"/>
            <ac:spMk id="6" creationId="{CC22417C-6EE4-2C8A-2482-FEC467C32A4F}"/>
          </ac:spMkLst>
        </pc:spChg>
        <pc:spChg chg="del">
          <ac:chgData name="Yaroslav Zhydyk" userId="feca11449df7c5ed" providerId="LiveId" clId="{DEB4F5E9-665E-474A-A1DA-C825ECC08A2E}" dt="2022-11-12T16:36:51.872" v="466" actId="478"/>
          <ac:spMkLst>
            <pc:docMk/>
            <pc:sldMk cId="1966932326" sldId="4007"/>
            <ac:spMk id="7" creationId="{69D47825-94B8-0A96-0284-A8EAC59F29CC}"/>
          </ac:spMkLst>
        </pc:spChg>
        <pc:spChg chg="del">
          <ac:chgData name="Yaroslav Zhydyk" userId="feca11449df7c5ed" providerId="LiveId" clId="{DEB4F5E9-665E-474A-A1DA-C825ECC08A2E}" dt="2022-11-12T16:36:51.872" v="466" actId="478"/>
          <ac:spMkLst>
            <pc:docMk/>
            <pc:sldMk cId="1966932326" sldId="4007"/>
            <ac:spMk id="8" creationId="{6462242D-14A8-EF78-01A9-AB0A24D28FC4}"/>
          </ac:spMkLst>
        </pc:spChg>
        <pc:spChg chg="del">
          <ac:chgData name="Yaroslav Zhydyk" userId="feca11449df7c5ed" providerId="LiveId" clId="{DEB4F5E9-665E-474A-A1DA-C825ECC08A2E}" dt="2022-11-12T16:36:51.872" v="466" actId="478"/>
          <ac:spMkLst>
            <pc:docMk/>
            <pc:sldMk cId="1966932326" sldId="4007"/>
            <ac:spMk id="9" creationId="{410E9422-F94A-4621-63F8-ED67176A0ED2}"/>
          </ac:spMkLst>
        </pc:spChg>
        <pc:spChg chg="del">
          <ac:chgData name="Yaroslav Zhydyk" userId="feca11449df7c5ed" providerId="LiveId" clId="{DEB4F5E9-665E-474A-A1DA-C825ECC08A2E}" dt="2022-11-12T16:36:51.872" v="466" actId="478"/>
          <ac:spMkLst>
            <pc:docMk/>
            <pc:sldMk cId="1966932326" sldId="4007"/>
            <ac:spMk id="10" creationId="{B6A43362-94BC-AB11-16D6-0FA2EE4549EE}"/>
          </ac:spMkLst>
        </pc:spChg>
        <pc:spChg chg="del">
          <ac:chgData name="Yaroslav Zhydyk" userId="feca11449df7c5ed" providerId="LiveId" clId="{DEB4F5E9-665E-474A-A1DA-C825ECC08A2E}" dt="2022-11-12T16:36:51.872" v="466" actId="478"/>
          <ac:spMkLst>
            <pc:docMk/>
            <pc:sldMk cId="1966932326" sldId="4007"/>
            <ac:spMk id="11" creationId="{5A216CC8-A1D3-EDAE-8B5B-84074476AB44}"/>
          </ac:spMkLst>
        </pc:spChg>
        <pc:spChg chg="del">
          <ac:chgData name="Yaroslav Zhydyk" userId="feca11449df7c5ed" providerId="LiveId" clId="{DEB4F5E9-665E-474A-A1DA-C825ECC08A2E}" dt="2022-11-12T16:36:51.872" v="466" actId="478"/>
          <ac:spMkLst>
            <pc:docMk/>
            <pc:sldMk cId="1966932326" sldId="4007"/>
            <ac:spMk id="12" creationId="{CEECC6CB-ABA1-3A96-BD71-C7F66AB8E7E5}"/>
          </ac:spMkLst>
        </pc:spChg>
        <pc:spChg chg="del">
          <ac:chgData name="Yaroslav Zhydyk" userId="feca11449df7c5ed" providerId="LiveId" clId="{DEB4F5E9-665E-474A-A1DA-C825ECC08A2E}" dt="2022-11-12T16:36:51.872" v="466" actId="478"/>
          <ac:spMkLst>
            <pc:docMk/>
            <pc:sldMk cId="1966932326" sldId="4007"/>
            <ac:spMk id="14" creationId="{66402260-5611-4E63-778E-1F415D99A384}"/>
          </ac:spMkLst>
        </pc:spChg>
        <pc:spChg chg="add mod">
          <ac:chgData name="Yaroslav Zhydyk" userId="feca11449df7c5ed" providerId="LiveId" clId="{DEB4F5E9-665E-474A-A1DA-C825ECC08A2E}" dt="2022-11-12T16:38:35.034" v="502" actId="164"/>
          <ac:spMkLst>
            <pc:docMk/>
            <pc:sldMk cId="1966932326" sldId="4007"/>
            <ac:spMk id="15" creationId="{01D13372-8832-B52C-5972-54A74E599C5B}"/>
          </ac:spMkLst>
        </pc:spChg>
        <pc:spChg chg="add mod">
          <ac:chgData name="Yaroslav Zhydyk" userId="feca11449df7c5ed" providerId="LiveId" clId="{DEB4F5E9-665E-474A-A1DA-C825ECC08A2E}" dt="2022-11-12T16:38:33.163" v="501" actId="164"/>
          <ac:spMkLst>
            <pc:docMk/>
            <pc:sldMk cId="1966932326" sldId="4007"/>
            <ac:spMk id="16" creationId="{E4E1FAA6-7816-D815-74FF-609AC11DAC18}"/>
          </ac:spMkLst>
        </pc:spChg>
        <pc:spChg chg="add mod">
          <ac:chgData name="Yaroslav Zhydyk" userId="feca11449df7c5ed" providerId="LiveId" clId="{DEB4F5E9-665E-474A-A1DA-C825ECC08A2E}" dt="2022-11-12T16:38:28.818" v="499" actId="164"/>
          <ac:spMkLst>
            <pc:docMk/>
            <pc:sldMk cId="1966932326" sldId="4007"/>
            <ac:spMk id="17" creationId="{0B487A8C-A0C9-483D-26B2-0D368B5293D2}"/>
          </ac:spMkLst>
        </pc:spChg>
        <pc:spChg chg="add mod">
          <ac:chgData name="Yaroslav Zhydyk" userId="feca11449df7c5ed" providerId="LiveId" clId="{DEB4F5E9-665E-474A-A1DA-C825ECC08A2E}" dt="2022-11-12T16:38:00.155" v="488" actId="164"/>
          <ac:spMkLst>
            <pc:docMk/>
            <pc:sldMk cId="1966932326" sldId="4007"/>
            <ac:spMk id="18" creationId="{E0A5E9C2-FCB4-377C-CCEF-D6A46441E7F1}"/>
          </ac:spMkLst>
        </pc:spChg>
        <pc:spChg chg="add mod">
          <ac:chgData name="Yaroslav Zhydyk" userId="feca11449df7c5ed" providerId="LiveId" clId="{DEB4F5E9-665E-474A-A1DA-C825ECC08A2E}" dt="2022-11-12T16:38:00.155" v="488" actId="164"/>
          <ac:spMkLst>
            <pc:docMk/>
            <pc:sldMk cId="1966932326" sldId="4007"/>
            <ac:spMk id="19" creationId="{D43E160C-F08E-FD17-3383-647E5FA9B2A7}"/>
          </ac:spMkLst>
        </pc:spChg>
        <pc:spChg chg="add mod">
          <ac:chgData name="Yaroslav Zhydyk" userId="feca11449df7c5ed" providerId="LiveId" clId="{DEB4F5E9-665E-474A-A1DA-C825ECC08A2E}" dt="2022-11-12T16:38:00.155" v="488" actId="164"/>
          <ac:spMkLst>
            <pc:docMk/>
            <pc:sldMk cId="1966932326" sldId="4007"/>
            <ac:spMk id="20" creationId="{44760712-39AD-9700-AD82-E99B44C594AF}"/>
          </ac:spMkLst>
        </pc:spChg>
        <pc:spChg chg="add mod">
          <ac:chgData name="Yaroslav Zhydyk" userId="feca11449df7c5ed" providerId="LiveId" clId="{DEB4F5E9-665E-474A-A1DA-C825ECC08A2E}" dt="2022-11-12T16:38:00.155" v="488" actId="164"/>
          <ac:spMkLst>
            <pc:docMk/>
            <pc:sldMk cId="1966932326" sldId="4007"/>
            <ac:spMk id="21" creationId="{76B4A31D-46C7-7A18-FCF0-64EA29BB31D9}"/>
          </ac:spMkLst>
        </pc:spChg>
        <pc:spChg chg="add mod">
          <ac:chgData name="Yaroslav Zhydyk" userId="feca11449df7c5ed" providerId="LiveId" clId="{DEB4F5E9-665E-474A-A1DA-C825ECC08A2E}" dt="2022-11-12T16:38:00.155" v="488" actId="164"/>
          <ac:spMkLst>
            <pc:docMk/>
            <pc:sldMk cId="1966932326" sldId="4007"/>
            <ac:spMk id="22" creationId="{A76CEF72-4FA1-7F51-4FC8-5E4D6BDEDE1D}"/>
          </ac:spMkLst>
        </pc:spChg>
        <pc:spChg chg="add mod">
          <ac:chgData name="Yaroslav Zhydyk" userId="feca11449df7c5ed" providerId="LiveId" clId="{DEB4F5E9-665E-474A-A1DA-C825ECC08A2E}" dt="2022-11-12T16:38:09.138" v="491" actId="164"/>
          <ac:spMkLst>
            <pc:docMk/>
            <pc:sldMk cId="1966932326" sldId="4007"/>
            <ac:spMk id="23" creationId="{72F106C3-860B-4155-8D08-3838C038EB52}"/>
          </ac:spMkLst>
        </pc:spChg>
        <pc:spChg chg="add mod">
          <ac:chgData name="Yaroslav Zhydyk" userId="feca11449df7c5ed" providerId="LiveId" clId="{DEB4F5E9-665E-474A-A1DA-C825ECC08A2E}" dt="2022-11-12T16:38:21.472" v="498" actId="207"/>
          <ac:spMkLst>
            <pc:docMk/>
            <pc:sldMk cId="1966932326" sldId="4007"/>
            <ac:spMk id="24" creationId="{63BEDDC6-1E15-BA82-660B-2B4D56F9459C}"/>
          </ac:spMkLst>
        </pc:spChg>
        <pc:spChg chg="add mod">
          <ac:chgData name="Yaroslav Zhydyk" userId="feca11449df7c5ed" providerId="LiveId" clId="{DEB4F5E9-665E-474A-A1DA-C825ECC08A2E}" dt="2022-11-12T16:38:09.138" v="491" actId="164"/>
          <ac:spMkLst>
            <pc:docMk/>
            <pc:sldMk cId="1966932326" sldId="4007"/>
            <ac:spMk id="25" creationId="{405C56F3-8208-EFAE-5DC4-0496D77D6DFB}"/>
          </ac:spMkLst>
        </pc:spChg>
        <pc:spChg chg="add mod">
          <ac:chgData name="Yaroslav Zhydyk" userId="feca11449df7c5ed" providerId="LiveId" clId="{DEB4F5E9-665E-474A-A1DA-C825ECC08A2E}" dt="2022-11-12T16:38:09.138" v="491" actId="164"/>
          <ac:spMkLst>
            <pc:docMk/>
            <pc:sldMk cId="1966932326" sldId="4007"/>
            <ac:spMk id="26" creationId="{734987E3-6C6E-FE67-CF83-B1192ED5F4B3}"/>
          </ac:spMkLst>
        </pc:spChg>
        <pc:spChg chg="add mod">
          <ac:chgData name="Yaroslav Zhydyk" userId="feca11449df7c5ed" providerId="LiveId" clId="{DEB4F5E9-665E-474A-A1DA-C825ECC08A2E}" dt="2022-11-12T16:38:09.138" v="491" actId="164"/>
          <ac:spMkLst>
            <pc:docMk/>
            <pc:sldMk cId="1966932326" sldId="4007"/>
            <ac:spMk id="27" creationId="{34092E47-900E-2E5F-4A09-1F852CA1720B}"/>
          </ac:spMkLst>
        </pc:spChg>
        <pc:spChg chg="add mod">
          <ac:chgData name="Yaroslav Zhydyk" userId="feca11449df7c5ed" providerId="LiveId" clId="{DEB4F5E9-665E-474A-A1DA-C825ECC08A2E}" dt="2022-11-12T16:38:14.463" v="494" actId="164"/>
          <ac:spMkLst>
            <pc:docMk/>
            <pc:sldMk cId="1966932326" sldId="4007"/>
            <ac:spMk id="28" creationId="{9AB4F9BF-7477-7EC0-77F3-EA59689CBBF5}"/>
          </ac:spMkLst>
        </pc:spChg>
        <pc:spChg chg="add mod">
          <ac:chgData name="Yaroslav Zhydyk" userId="feca11449df7c5ed" providerId="LiveId" clId="{DEB4F5E9-665E-474A-A1DA-C825ECC08A2E}" dt="2022-11-12T16:38:14.463" v="494" actId="164"/>
          <ac:spMkLst>
            <pc:docMk/>
            <pc:sldMk cId="1966932326" sldId="4007"/>
            <ac:spMk id="29" creationId="{F423A651-1F68-F97D-7DBD-79EDACEF0223}"/>
          </ac:spMkLst>
        </pc:spChg>
        <pc:spChg chg="add mod">
          <ac:chgData name="Yaroslav Zhydyk" userId="feca11449df7c5ed" providerId="LiveId" clId="{DEB4F5E9-665E-474A-A1DA-C825ECC08A2E}" dt="2022-11-12T16:38:14.463" v="494" actId="164"/>
          <ac:spMkLst>
            <pc:docMk/>
            <pc:sldMk cId="1966932326" sldId="4007"/>
            <ac:spMk id="30" creationId="{68D1B36A-B332-DF6D-A923-4CEFB3067E7F}"/>
          </ac:spMkLst>
        </pc:spChg>
        <pc:spChg chg="add mod">
          <ac:chgData name="Yaroslav Zhydyk" userId="feca11449df7c5ed" providerId="LiveId" clId="{DEB4F5E9-665E-474A-A1DA-C825ECC08A2E}" dt="2022-11-12T16:38:14.463" v="494" actId="164"/>
          <ac:spMkLst>
            <pc:docMk/>
            <pc:sldMk cId="1966932326" sldId="4007"/>
            <ac:spMk id="31" creationId="{9A3C0CE7-9749-8E81-D7C7-144AF570045C}"/>
          </ac:spMkLst>
        </pc:spChg>
        <pc:spChg chg="add mod">
          <ac:chgData name="Yaroslav Zhydyk" userId="feca11449df7c5ed" providerId="LiveId" clId="{DEB4F5E9-665E-474A-A1DA-C825ECC08A2E}" dt="2022-11-12T16:38:14.463" v="494" actId="164"/>
          <ac:spMkLst>
            <pc:docMk/>
            <pc:sldMk cId="1966932326" sldId="4007"/>
            <ac:spMk id="32" creationId="{43E3D044-1A56-3221-C2F3-A7B0240091A7}"/>
          </ac:spMkLst>
        </pc:spChg>
        <pc:grpChg chg="add mod">
          <ac:chgData name="Yaroslav Zhydyk" userId="feca11449df7c5ed" providerId="LiveId" clId="{DEB4F5E9-665E-474A-A1DA-C825ECC08A2E}" dt="2022-11-12T16:38:35.034" v="502" actId="164"/>
          <ac:grpSpMkLst>
            <pc:docMk/>
            <pc:sldMk cId="1966932326" sldId="4007"/>
            <ac:grpSpMk id="33" creationId="{AA4E68AB-E703-F4B1-39C6-F2C8345EA84F}"/>
          </ac:grpSpMkLst>
        </pc:grpChg>
        <pc:grpChg chg="add mod">
          <ac:chgData name="Yaroslav Zhydyk" userId="feca11449df7c5ed" providerId="LiveId" clId="{DEB4F5E9-665E-474A-A1DA-C825ECC08A2E}" dt="2022-11-12T16:38:33.163" v="501" actId="164"/>
          <ac:grpSpMkLst>
            <pc:docMk/>
            <pc:sldMk cId="1966932326" sldId="4007"/>
            <ac:grpSpMk id="34" creationId="{09B2C3BC-B693-3423-A62C-0894D72A58E4}"/>
          </ac:grpSpMkLst>
        </pc:grpChg>
        <pc:grpChg chg="add mod">
          <ac:chgData name="Yaroslav Zhydyk" userId="feca11449df7c5ed" providerId="LiveId" clId="{DEB4F5E9-665E-474A-A1DA-C825ECC08A2E}" dt="2022-11-12T16:38:28.818" v="499" actId="164"/>
          <ac:grpSpMkLst>
            <pc:docMk/>
            <pc:sldMk cId="1966932326" sldId="4007"/>
            <ac:grpSpMk id="35" creationId="{7A878948-A777-01D3-E17C-DCB37EDE6981}"/>
          </ac:grpSpMkLst>
        </pc:grpChg>
        <pc:grpChg chg="add mod">
          <ac:chgData name="Yaroslav Zhydyk" userId="feca11449df7c5ed" providerId="LiveId" clId="{DEB4F5E9-665E-474A-A1DA-C825ECC08A2E}" dt="2022-11-12T16:38:31.112" v="500" actId="1076"/>
          <ac:grpSpMkLst>
            <pc:docMk/>
            <pc:sldMk cId="1966932326" sldId="4007"/>
            <ac:grpSpMk id="36" creationId="{EF046C9B-F1D2-78A9-65D3-6D727BBC9CEE}"/>
          </ac:grpSpMkLst>
        </pc:grpChg>
        <pc:grpChg chg="add mod">
          <ac:chgData name="Yaroslav Zhydyk" userId="feca11449df7c5ed" providerId="LiveId" clId="{DEB4F5E9-665E-474A-A1DA-C825ECC08A2E}" dt="2022-11-12T16:38:38.246" v="503" actId="408"/>
          <ac:grpSpMkLst>
            <pc:docMk/>
            <pc:sldMk cId="1966932326" sldId="4007"/>
            <ac:grpSpMk id="37" creationId="{E12B492C-98E9-67D3-88B1-4D0FC4327E2A}"/>
          </ac:grpSpMkLst>
        </pc:grpChg>
        <pc:grpChg chg="add mod">
          <ac:chgData name="Yaroslav Zhydyk" userId="feca11449df7c5ed" providerId="LiveId" clId="{DEB4F5E9-665E-474A-A1DA-C825ECC08A2E}" dt="2022-11-12T16:38:35.034" v="502" actId="164"/>
          <ac:grpSpMkLst>
            <pc:docMk/>
            <pc:sldMk cId="1966932326" sldId="4007"/>
            <ac:grpSpMk id="38" creationId="{1F7CB647-FC1D-8DFF-A883-753D3CFF0C29}"/>
          </ac:grpSpMkLst>
        </pc:grpChg>
        <pc:picChg chg="del">
          <ac:chgData name="Yaroslav Zhydyk" userId="feca11449df7c5ed" providerId="LiveId" clId="{DEB4F5E9-665E-474A-A1DA-C825ECC08A2E}" dt="2022-11-12T16:36:51.872" v="466" actId="478"/>
          <ac:picMkLst>
            <pc:docMk/>
            <pc:sldMk cId="1966932326" sldId="4007"/>
            <ac:picMk id="13" creationId="{053119C0-2BC9-9320-D997-C88D7CAC7FC2}"/>
          </ac:picMkLst>
        </pc:picChg>
      </pc:sldChg>
      <pc:sldChg chg="addSp delSp modSp add mod ord">
        <pc:chgData name="Yaroslav Zhydyk" userId="feca11449df7c5ed" providerId="LiveId" clId="{DEB4F5E9-665E-474A-A1DA-C825ECC08A2E}" dt="2022-11-12T16:40:48.115" v="543" actId="1076"/>
        <pc:sldMkLst>
          <pc:docMk/>
          <pc:sldMk cId="1550217815" sldId="4008"/>
        </pc:sldMkLst>
        <pc:spChg chg="mod">
          <ac:chgData name="Yaroslav Zhydyk" userId="feca11449df7c5ed" providerId="LiveId" clId="{DEB4F5E9-665E-474A-A1DA-C825ECC08A2E}" dt="2022-11-12T16:39:51.091" v="526" actId="207"/>
          <ac:spMkLst>
            <pc:docMk/>
            <pc:sldMk cId="1550217815" sldId="4008"/>
            <ac:spMk id="2" creationId="{CF2BB424-F0DA-61D3-FABA-A7B73AAE46CF}"/>
          </ac:spMkLst>
        </pc:spChg>
        <pc:spChg chg="mod">
          <ac:chgData name="Yaroslav Zhydyk" userId="feca11449df7c5ed" providerId="LiveId" clId="{DEB4F5E9-665E-474A-A1DA-C825ECC08A2E}" dt="2022-11-12T16:40:20.279" v="535" actId="14100"/>
          <ac:spMkLst>
            <pc:docMk/>
            <pc:sldMk cId="1550217815" sldId="4008"/>
            <ac:spMk id="4" creationId="{75049A83-B8FD-80A2-6C83-3104E1E3020F}"/>
          </ac:spMkLst>
        </pc:spChg>
        <pc:spChg chg="mod">
          <ac:chgData name="Yaroslav Zhydyk" userId="feca11449df7c5ed" providerId="LiveId" clId="{DEB4F5E9-665E-474A-A1DA-C825ECC08A2E}" dt="2022-11-12T16:39:59.518" v="529"/>
          <ac:spMkLst>
            <pc:docMk/>
            <pc:sldMk cId="1550217815" sldId="4008"/>
            <ac:spMk id="5" creationId="{0D6AC2D8-BD35-6FDE-9393-4F5204BCBBBB}"/>
          </ac:spMkLst>
        </pc:spChg>
        <pc:spChg chg="mod">
          <ac:chgData name="Yaroslav Zhydyk" userId="feca11449df7c5ed" providerId="LiveId" clId="{DEB4F5E9-665E-474A-A1DA-C825ECC08A2E}" dt="2022-11-12T16:39:59.518" v="529"/>
          <ac:spMkLst>
            <pc:docMk/>
            <pc:sldMk cId="1550217815" sldId="4008"/>
            <ac:spMk id="6" creationId="{04A9C104-1AE7-262D-0804-B41597C7B530}"/>
          </ac:spMkLst>
        </pc:spChg>
        <pc:spChg chg="mod">
          <ac:chgData name="Yaroslav Zhydyk" userId="feca11449df7c5ed" providerId="LiveId" clId="{DEB4F5E9-665E-474A-A1DA-C825ECC08A2E}" dt="2022-11-12T16:39:59.518" v="529"/>
          <ac:spMkLst>
            <pc:docMk/>
            <pc:sldMk cId="1550217815" sldId="4008"/>
            <ac:spMk id="7" creationId="{F346A4AF-41B1-5030-06A0-865FCB723BD7}"/>
          </ac:spMkLst>
        </pc:spChg>
        <pc:spChg chg="mod">
          <ac:chgData name="Yaroslav Zhydyk" userId="feca11449df7c5ed" providerId="LiveId" clId="{DEB4F5E9-665E-474A-A1DA-C825ECC08A2E}" dt="2022-11-12T16:39:59.518" v="529"/>
          <ac:spMkLst>
            <pc:docMk/>
            <pc:sldMk cId="1550217815" sldId="4008"/>
            <ac:spMk id="8" creationId="{F64E4848-8B55-96BE-0D63-08F1BC6E7900}"/>
          </ac:spMkLst>
        </pc:spChg>
        <pc:spChg chg="mod">
          <ac:chgData name="Yaroslav Zhydyk" userId="feca11449df7c5ed" providerId="LiveId" clId="{DEB4F5E9-665E-474A-A1DA-C825ECC08A2E}" dt="2022-11-12T16:39:59.518" v="529"/>
          <ac:spMkLst>
            <pc:docMk/>
            <pc:sldMk cId="1550217815" sldId="4008"/>
            <ac:spMk id="9" creationId="{B46D46D1-7F59-8331-C68D-0853F0686220}"/>
          </ac:spMkLst>
        </pc:spChg>
        <pc:spChg chg="mod">
          <ac:chgData name="Yaroslav Zhydyk" userId="feca11449df7c5ed" providerId="LiveId" clId="{DEB4F5E9-665E-474A-A1DA-C825ECC08A2E}" dt="2022-11-12T16:39:59.518" v="529"/>
          <ac:spMkLst>
            <pc:docMk/>
            <pc:sldMk cId="1550217815" sldId="4008"/>
            <ac:spMk id="10" creationId="{183D2C56-E873-E2AC-7D0E-38B3476E51D2}"/>
          </ac:spMkLst>
        </pc:spChg>
        <pc:spChg chg="mod topLvl">
          <ac:chgData name="Yaroslav Zhydyk" userId="feca11449df7c5ed" providerId="LiveId" clId="{DEB4F5E9-665E-474A-A1DA-C825ECC08A2E}" dt="2022-11-12T16:40:45.864" v="542" actId="164"/>
          <ac:spMkLst>
            <pc:docMk/>
            <pc:sldMk cId="1550217815" sldId="4008"/>
            <ac:spMk id="12" creationId="{3462E3F2-3BBA-53D9-3A13-B61E08E91785}"/>
          </ac:spMkLst>
        </pc:spChg>
        <pc:spChg chg="mod topLvl">
          <ac:chgData name="Yaroslav Zhydyk" userId="feca11449df7c5ed" providerId="LiveId" clId="{DEB4F5E9-665E-474A-A1DA-C825ECC08A2E}" dt="2022-11-12T16:40:40.161" v="540" actId="164"/>
          <ac:spMkLst>
            <pc:docMk/>
            <pc:sldMk cId="1550217815" sldId="4008"/>
            <ac:spMk id="14" creationId="{DE3A5ADE-515F-4748-7331-702562E0605E}"/>
          </ac:spMkLst>
        </pc:spChg>
        <pc:spChg chg="mod topLvl">
          <ac:chgData name="Yaroslav Zhydyk" userId="feca11449df7c5ed" providerId="LiveId" clId="{DEB4F5E9-665E-474A-A1DA-C825ECC08A2E}" dt="2022-11-12T16:40:40.161" v="540" actId="164"/>
          <ac:spMkLst>
            <pc:docMk/>
            <pc:sldMk cId="1550217815" sldId="4008"/>
            <ac:spMk id="39" creationId="{347F591E-9C1B-F6A8-E6AD-555B8984531E}"/>
          </ac:spMkLst>
        </pc:spChg>
        <pc:spChg chg="mod topLvl">
          <ac:chgData name="Yaroslav Zhydyk" userId="feca11449df7c5ed" providerId="LiveId" clId="{DEB4F5E9-665E-474A-A1DA-C825ECC08A2E}" dt="2022-11-12T16:40:40.161" v="540" actId="164"/>
          <ac:spMkLst>
            <pc:docMk/>
            <pc:sldMk cId="1550217815" sldId="4008"/>
            <ac:spMk id="40" creationId="{BBCBB212-82E7-B4D5-4B50-D8763F9176B6}"/>
          </ac:spMkLst>
        </pc:spChg>
        <pc:spChg chg="mod topLvl">
          <ac:chgData name="Yaroslav Zhydyk" userId="feca11449df7c5ed" providerId="LiveId" clId="{DEB4F5E9-665E-474A-A1DA-C825ECC08A2E}" dt="2022-11-12T16:40:40.161" v="540" actId="164"/>
          <ac:spMkLst>
            <pc:docMk/>
            <pc:sldMk cId="1550217815" sldId="4008"/>
            <ac:spMk id="41" creationId="{BCEBF701-FD68-096D-3DCE-26E85106EA28}"/>
          </ac:spMkLst>
        </pc:spChg>
        <pc:spChg chg="mod topLvl">
          <ac:chgData name="Yaroslav Zhydyk" userId="feca11449df7c5ed" providerId="LiveId" clId="{DEB4F5E9-665E-474A-A1DA-C825ECC08A2E}" dt="2022-11-12T16:40:40.161" v="540" actId="164"/>
          <ac:spMkLst>
            <pc:docMk/>
            <pc:sldMk cId="1550217815" sldId="4008"/>
            <ac:spMk id="42" creationId="{62D85D63-6213-DC14-0A74-BD08B747055C}"/>
          </ac:spMkLst>
        </pc:spChg>
        <pc:spChg chg="mod topLvl">
          <ac:chgData name="Yaroslav Zhydyk" userId="feca11449df7c5ed" providerId="LiveId" clId="{DEB4F5E9-665E-474A-A1DA-C825ECC08A2E}" dt="2022-11-12T16:40:40.161" v="540" actId="164"/>
          <ac:spMkLst>
            <pc:docMk/>
            <pc:sldMk cId="1550217815" sldId="4008"/>
            <ac:spMk id="43" creationId="{335CFEED-FF60-B4BF-5D4C-5B99EBD673A7}"/>
          </ac:spMkLst>
        </pc:spChg>
        <pc:grpChg chg="add mod">
          <ac:chgData name="Yaroslav Zhydyk" userId="feca11449df7c5ed" providerId="LiveId" clId="{DEB4F5E9-665E-474A-A1DA-C825ECC08A2E}" dt="2022-11-12T16:40:02.023" v="530" actId="1076"/>
          <ac:grpSpMkLst>
            <pc:docMk/>
            <pc:sldMk cId="1550217815" sldId="4008"/>
            <ac:grpSpMk id="3" creationId="{861F8F99-21AC-81D8-B089-64F2B12FD06E}"/>
          </ac:grpSpMkLst>
        </pc:grpChg>
        <pc:grpChg chg="add del mod">
          <ac:chgData name="Yaroslav Zhydyk" userId="feca11449df7c5ed" providerId="LiveId" clId="{DEB4F5E9-665E-474A-A1DA-C825ECC08A2E}" dt="2022-11-12T16:40:27.217" v="537" actId="165"/>
          <ac:grpSpMkLst>
            <pc:docMk/>
            <pc:sldMk cId="1550217815" sldId="4008"/>
            <ac:grpSpMk id="11" creationId="{A2F26BAD-8B49-AE85-D870-0FB66A1AA695}"/>
          </ac:grpSpMkLst>
        </pc:grpChg>
        <pc:grpChg chg="del mod topLvl">
          <ac:chgData name="Yaroslav Zhydyk" userId="feca11449df7c5ed" providerId="LiveId" clId="{DEB4F5E9-665E-474A-A1DA-C825ECC08A2E}" dt="2022-11-12T16:40:31.552" v="538" actId="165"/>
          <ac:grpSpMkLst>
            <pc:docMk/>
            <pc:sldMk cId="1550217815" sldId="4008"/>
            <ac:grpSpMk id="13" creationId="{48749548-161D-8333-A4CF-8EF962812FB1}"/>
          </ac:grpSpMkLst>
        </pc:grpChg>
        <pc:grpChg chg="del">
          <ac:chgData name="Yaroslav Zhydyk" userId="feca11449df7c5ed" providerId="LiveId" clId="{DEB4F5E9-665E-474A-A1DA-C825ECC08A2E}" dt="2022-11-12T16:39:53.777" v="527" actId="478"/>
          <ac:grpSpMkLst>
            <pc:docMk/>
            <pc:sldMk cId="1550217815" sldId="4008"/>
            <ac:grpSpMk id="36" creationId="{EF046C9B-F1D2-78A9-65D3-6D727BBC9CEE}"/>
          </ac:grpSpMkLst>
        </pc:grpChg>
        <pc:grpChg chg="del">
          <ac:chgData name="Yaroslav Zhydyk" userId="feca11449df7c5ed" providerId="LiveId" clId="{DEB4F5E9-665E-474A-A1DA-C825ECC08A2E}" dt="2022-11-12T16:39:53.777" v="527" actId="478"/>
          <ac:grpSpMkLst>
            <pc:docMk/>
            <pc:sldMk cId="1550217815" sldId="4008"/>
            <ac:grpSpMk id="37" creationId="{E12B492C-98E9-67D3-88B1-4D0FC4327E2A}"/>
          </ac:grpSpMkLst>
        </pc:grpChg>
        <pc:grpChg chg="del">
          <ac:chgData name="Yaroslav Zhydyk" userId="feca11449df7c5ed" providerId="LiveId" clId="{DEB4F5E9-665E-474A-A1DA-C825ECC08A2E}" dt="2022-11-12T16:39:53.777" v="527" actId="478"/>
          <ac:grpSpMkLst>
            <pc:docMk/>
            <pc:sldMk cId="1550217815" sldId="4008"/>
            <ac:grpSpMk id="38" creationId="{1F7CB647-FC1D-8DFF-A883-753D3CFF0C29}"/>
          </ac:grpSpMkLst>
        </pc:grpChg>
        <pc:grpChg chg="add mod">
          <ac:chgData name="Yaroslav Zhydyk" userId="feca11449df7c5ed" providerId="LiveId" clId="{DEB4F5E9-665E-474A-A1DA-C825ECC08A2E}" dt="2022-11-12T16:40:45.864" v="542" actId="164"/>
          <ac:grpSpMkLst>
            <pc:docMk/>
            <pc:sldMk cId="1550217815" sldId="4008"/>
            <ac:grpSpMk id="44" creationId="{C6B17E79-9F47-EF15-AF2C-6A127640B81A}"/>
          </ac:grpSpMkLst>
        </pc:grpChg>
        <pc:grpChg chg="add mod">
          <ac:chgData name="Yaroslav Zhydyk" userId="feca11449df7c5ed" providerId="LiveId" clId="{DEB4F5E9-665E-474A-A1DA-C825ECC08A2E}" dt="2022-11-12T16:40:48.115" v="543" actId="1076"/>
          <ac:grpSpMkLst>
            <pc:docMk/>
            <pc:sldMk cId="1550217815" sldId="4008"/>
            <ac:grpSpMk id="45" creationId="{677693A0-D4A8-A9CF-66D0-410EED09B116}"/>
          </ac:grpSpMkLst>
        </pc:grpChg>
      </pc:sldChg>
      <pc:sldChg chg="addSp delSp modSp add mod">
        <pc:chgData name="Yaroslav Zhydyk" userId="feca11449df7c5ed" providerId="LiveId" clId="{DEB4F5E9-665E-474A-A1DA-C825ECC08A2E}" dt="2022-11-12T16:42:40.579" v="569" actId="478"/>
        <pc:sldMkLst>
          <pc:docMk/>
          <pc:sldMk cId="35582438" sldId="4009"/>
        </pc:sldMkLst>
        <pc:spChg chg="mod">
          <ac:chgData name="Yaroslav Zhydyk" userId="feca11449df7c5ed" providerId="LiveId" clId="{DEB4F5E9-665E-474A-A1DA-C825ECC08A2E}" dt="2022-11-12T16:41:50.913" v="558" actId="207"/>
          <ac:spMkLst>
            <pc:docMk/>
            <pc:sldMk cId="35582438" sldId="4009"/>
            <ac:spMk id="2" creationId="{CF2BB424-F0DA-61D3-FABA-A7B73AAE46CF}"/>
          </ac:spMkLst>
        </pc:spChg>
        <pc:spChg chg="mod">
          <ac:chgData name="Yaroslav Zhydyk" userId="feca11449df7c5ed" providerId="LiveId" clId="{DEB4F5E9-665E-474A-A1DA-C825ECC08A2E}" dt="2022-11-12T16:42:08.144" v="560"/>
          <ac:spMkLst>
            <pc:docMk/>
            <pc:sldMk cId="35582438" sldId="4009"/>
            <ac:spMk id="13" creationId="{5F9F5D06-6D42-22A8-D921-52A9AFC26929}"/>
          </ac:spMkLst>
        </pc:spChg>
        <pc:spChg chg="mod">
          <ac:chgData name="Yaroslav Zhydyk" userId="feca11449df7c5ed" providerId="LiveId" clId="{DEB4F5E9-665E-474A-A1DA-C825ECC08A2E}" dt="2022-11-12T16:42:08.144" v="560"/>
          <ac:spMkLst>
            <pc:docMk/>
            <pc:sldMk cId="35582438" sldId="4009"/>
            <ac:spMk id="15" creationId="{9B71B482-FF68-34F6-3753-2D8E51E5E8C5}"/>
          </ac:spMkLst>
        </pc:spChg>
        <pc:spChg chg="mod">
          <ac:chgData name="Yaroslav Zhydyk" userId="feca11449df7c5ed" providerId="LiveId" clId="{DEB4F5E9-665E-474A-A1DA-C825ECC08A2E}" dt="2022-11-12T16:42:08.144" v="560"/>
          <ac:spMkLst>
            <pc:docMk/>
            <pc:sldMk cId="35582438" sldId="4009"/>
            <ac:spMk id="16" creationId="{232292EC-D577-769D-4CC5-A911422AA189}"/>
          </ac:spMkLst>
        </pc:spChg>
        <pc:spChg chg="mod">
          <ac:chgData name="Yaroslav Zhydyk" userId="feca11449df7c5ed" providerId="LiveId" clId="{DEB4F5E9-665E-474A-A1DA-C825ECC08A2E}" dt="2022-11-12T16:42:08.144" v="560"/>
          <ac:spMkLst>
            <pc:docMk/>
            <pc:sldMk cId="35582438" sldId="4009"/>
            <ac:spMk id="17" creationId="{31E43630-43A7-EB4E-EC8F-1D91E71B5B57}"/>
          </ac:spMkLst>
        </pc:spChg>
        <pc:spChg chg="mod">
          <ac:chgData name="Yaroslav Zhydyk" userId="feca11449df7c5ed" providerId="LiveId" clId="{DEB4F5E9-665E-474A-A1DA-C825ECC08A2E}" dt="2022-11-12T16:42:08.144" v="560"/>
          <ac:spMkLst>
            <pc:docMk/>
            <pc:sldMk cId="35582438" sldId="4009"/>
            <ac:spMk id="18" creationId="{6A6DDFD1-A141-3450-1ACC-304A9069938F}"/>
          </ac:spMkLst>
        </pc:spChg>
        <pc:spChg chg="mod">
          <ac:chgData name="Yaroslav Zhydyk" userId="feca11449df7c5ed" providerId="LiveId" clId="{DEB4F5E9-665E-474A-A1DA-C825ECC08A2E}" dt="2022-11-12T16:42:08.144" v="560"/>
          <ac:spMkLst>
            <pc:docMk/>
            <pc:sldMk cId="35582438" sldId="4009"/>
            <ac:spMk id="19" creationId="{6D119806-ADA1-ED48-B86A-6BDD2A78424B}"/>
          </ac:spMkLst>
        </pc:spChg>
        <pc:spChg chg="mod">
          <ac:chgData name="Yaroslav Zhydyk" userId="feca11449df7c5ed" providerId="LiveId" clId="{DEB4F5E9-665E-474A-A1DA-C825ECC08A2E}" dt="2022-11-12T16:42:08.144" v="560"/>
          <ac:spMkLst>
            <pc:docMk/>
            <pc:sldMk cId="35582438" sldId="4009"/>
            <ac:spMk id="20" creationId="{A51E2912-3A7A-71B4-42D7-B7A3BFB89AB6}"/>
          </ac:spMkLst>
        </pc:spChg>
        <pc:spChg chg="mod">
          <ac:chgData name="Yaroslav Zhydyk" userId="feca11449df7c5ed" providerId="LiveId" clId="{DEB4F5E9-665E-474A-A1DA-C825ECC08A2E}" dt="2022-11-12T16:42:08.144" v="560"/>
          <ac:spMkLst>
            <pc:docMk/>
            <pc:sldMk cId="35582438" sldId="4009"/>
            <ac:spMk id="22" creationId="{F129984C-F652-4C35-3B83-46872389FAB8}"/>
          </ac:spMkLst>
        </pc:spChg>
        <pc:spChg chg="mod">
          <ac:chgData name="Yaroslav Zhydyk" userId="feca11449df7c5ed" providerId="LiveId" clId="{DEB4F5E9-665E-474A-A1DA-C825ECC08A2E}" dt="2022-11-12T16:42:08.144" v="560"/>
          <ac:spMkLst>
            <pc:docMk/>
            <pc:sldMk cId="35582438" sldId="4009"/>
            <ac:spMk id="24" creationId="{4FB44D6C-390F-A621-8EB6-C142D71EC410}"/>
          </ac:spMkLst>
        </pc:spChg>
        <pc:spChg chg="mod">
          <ac:chgData name="Yaroslav Zhydyk" userId="feca11449df7c5ed" providerId="LiveId" clId="{DEB4F5E9-665E-474A-A1DA-C825ECC08A2E}" dt="2022-11-12T16:42:08.144" v="560"/>
          <ac:spMkLst>
            <pc:docMk/>
            <pc:sldMk cId="35582438" sldId="4009"/>
            <ac:spMk id="25" creationId="{789E8091-1B28-3E61-9BB4-1443A61E82CE}"/>
          </ac:spMkLst>
        </pc:spChg>
        <pc:spChg chg="mod">
          <ac:chgData name="Yaroslav Zhydyk" userId="feca11449df7c5ed" providerId="LiveId" clId="{DEB4F5E9-665E-474A-A1DA-C825ECC08A2E}" dt="2022-11-12T16:42:08.144" v="560"/>
          <ac:spMkLst>
            <pc:docMk/>
            <pc:sldMk cId="35582438" sldId="4009"/>
            <ac:spMk id="26" creationId="{B01C4596-0AB2-BB02-9752-9054D316AB71}"/>
          </ac:spMkLst>
        </pc:spChg>
        <pc:spChg chg="mod">
          <ac:chgData name="Yaroslav Zhydyk" userId="feca11449df7c5ed" providerId="LiveId" clId="{DEB4F5E9-665E-474A-A1DA-C825ECC08A2E}" dt="2022-11-12T16:42:08.144" v="560"/>
          <ac:spMkLst>
            <pc:docMk/>
            <pc:sldMk cId="35582438" sldId="4009"/>
            <ac:spMk id="27" creationId="{609967C1-9D6A-122A-EE89-6CB4E5CE18C0}"/>
          </ac:spMkLst>
        </pc:spChg>
        <pc:spChg chg="mod">
          <ac:chgData name="Yaroslav Zhydyk" userId="feca11449df7c5ed" providerId="LiveId" clId="{DEB4F5E9-665E-474A-A1DA-C825ECC08A2E}" dt="2022-11-12T16:42:08.144" v="560"/>
          <ac:spMkLst>
            <pc:docMk/>
            <pc:sldMk cId="35582438" sldId="4009"/>
            <ac:spMk id="28" creationId="{8BF9F3E3-0EE1-C1B9-CCAF-28D5E7FE8D19}"/>
          </ac:spMkLst>
        </pc:spChg>
        <pc:spChg chg="mod">
          <ac:chgData name="Yaroslav Zhydyk" userId="feca11449df7c5ed" providerId="LiveId" clId="{DEB4F5E9-665E-474A-A1DA-C825ECC08A2E}" dt="2022-11-12T16:42:08.144" v="560"/>
          <ac:spMkLst>
            <pc:docMk/>
            <pc:sldMk cId="35582438" sldId="4009"/>
            <ac:spMk id="29" creationId="{1AF1AEA6-13D4-3F65-7613-97E876495108}"/>
          </ac:spMkLst>
        </pc:spChg>
        <pc:spChg chg="mod">
          <ac:chgData name="Yaroslav Zhydyk" userId="feca11449df7c5ed" providerId="LiveId" clId="{DEB4F5E9-665E-474A-A1DA-C825ECC08A2E}" dt="2022-11-12T16:42:14.646" v="563"/>
          <ac:spMkLst>
            <pc:docMk/>
            <pc:sldMk cId="35582438" sldId="4009"/>
            <ac:spMk id="31" creationId="{288EA9FD-88F6-8EA1-FED2-B66EE890D0A3}"/>
          </ac:spMkLst>
        </pc:spChg>
        <pc:spChg chg="mod">
          <ac:chgData name="Yaroslav Zhydyk" userId="feca11449df7c5ed" providerId="LiveId" clId="{DEB4F5E9-665E-474A-A1DA-C825ECC08A2E}" dt="2022-11-12T16:42:14.646" v="563"/>
          <ac:spMkLst>
            <pc:docMk/>
            <pc:sldMk cId="35582438" sldId="4009"/>
            <ac:spMk id="53" creationId="{E2B830E5-11AB-305D-DC0D-AA994216619B}"/>
          </ac:spMkLst>
        </pc:spChg>
        <pc:spChg chg="mod">
          <ac:chgData name="Yaroslav Zhydyk" userId="feca11449df7c5ed" providerId="LiveId" clId="{DEB4F5E9-665E-474A-A1DA-C825ECC08A2E}" dt="2022-11-12T16:42:14.646" v="563"/>
          <ac:spMkLst>
            <pc:docMk/>
            <pc:sldMk cId="35582438" sldId="4009"/>
            <ac:spMk id="54" creationId="{73035419-F322-C1DA-A720-D9DF9C62ADF2}"/>
          </ac:spMkLst>
        </pc:spChg>
        <pc:spChg chg="mod">
          <ac:chgData name="Yaroslav Zhydyk" userId="feca11449df7c5ed" providerId="LiveId" clId="{DEB4F5E9-665E-474A-A1DA-C825ECC08A2E}" dt="2022-11-12T16:42:14.646" v="563"/>
          <ac:spMkLst>
            <pc:docMk/>
            <pc:sldMk cId="35582438" sldId="4009"/>
            <ac:spMk id="55" creationId="{4BFEB4E2-97EE-7009-89B2-9059BA972B56}"/>
          </ac:spMkLst>
        </pc:spChg>
        <pc:spChg chg="mod">
          <ac:chgData name="Yaroslav Zhydyk" userId="feca11449df7c5ed" providerId="LiveId" clId="{DEB4F5E9-665E-474A-A1DA-C825ECC08A2E}" dt="2022-11-12T16:42:14.646" v="563"/>
          <ac:spMkLst>
            <pc:docMk/>
            <pc:sldMk cId="35582438" sldId="4009"/>
            <ac:spMk id="56" creationId="{C932D994-926E-08CD-7A11-DF80314FD063}"/>
          </ac:spMkLst>
        </pc:spChg>
        <pc:spChg chg="mod">
          <ac:chgData name="Yaroslav Zhydyk" userId="feca11449df7c5ed" providerId="LiveId" clId="{DEB4F5E9-665E-474A-A1DA-C825ECC08A2E}" dt="2022-11-12T16:42:14.646" v="563"/>
          <ac:spMkLst>
            <pc:docMk/>
            <pc:sldMk cId="35582438" sldId="4009"/>
            <ac:spMk id="57" creationId="{74082066-CBFF-E061-50D3-2174C0F9C69B}"/>
          </ac:spMkLst>
        </pc:spChg>
        <pc:spChg chg="mod">
          <ac:chgData name="Yaroslav Zhydyk" userId="feca11449df7c5ed" providerId="LiveId" clId="{DEB4F5E9-665E-474A-A1DA-C825ECC08A2E}" dt="2022-11-12T16:42:14.646" v="563"/>
          <ac:spMkLst>
            <pc:docMk/>
            <pc:sldMk cId="35582438" sldId="4009"/>
            <ac:spMk id="58" creationId="{59BCFA5B-68A8-39B8-8FA5-A55737E51AEE}"/>
          </ac:spMkLst>
        </pc:spChg>
        <pc:spChg chg="mod">
          <ac:chgData name="Yaroslav Zhydyk" userId="feca11449df7c5ed" providerId="LiveId" clId="{DEB4F5E9-665E-474A-A1DA-C825ECC08A2E}" dt="2022-11-12T16:42:14.646" v="563"/>
          <ac:spMkLst>
            <pc:docMk/>
            <pc:sldMk cId="35582438" sldId="4009"/>
            <ac:spMk id="59" creationId="{A1B88A38-7804-149D-8A50-ED7E05069D5B}"/>
          </ac:spMkLst>
        </pc:spChg>
        <pc:spChg chg="mod">
          <ac:chgData name="Yaroslav Zhydyk" userId="feca11449df7c5ed" providerId="LiveId" clId="{DEB4F5E9-665E-474A-A1DA-C825ECC08A2E}" dt="2022-11-12T16:42:14.646" v="563"/>
          <ac:spMkLst>
            <pc:docMk/>
            <pc:sldMk cId="35582438" sldId="4009"/>
            <ac:spMk id="60" creationId="{7B475578-360D-F6F4-C616-F81427E211A1}"/>
          </ac:spMkLst>
        </pc:spChg>
        <pc:spChg chg="mod">
          <ac:chgData name="Yaroslav Zhydyk" userId="feca11449df7c5ed" providerId="LiveId" clId="{DEB4F5E9-665E-474A-A1DA-C825ECC08A2E}" dt="2022-11-12T16:42:14.646" v="563"/>
          <ac:spMkLst>
            <pc:docMk/>
            <pc:sldMk cId="35582438" sldId="4009"/>
            <ac:spMk id="61" creationId="{2ED8AA52-1F95-91C6-96E5-356CAEE31BC4}"/>
          </ac:spMkLst>
        </pc:spChg>
        <pc:spChg chg="mod">
          <ac:chgData name="Yaroslav Zhydyk" userId="feca11449df7c5ed" providerId="LiveId" clId="{DEB4F5E9-665E-474A-A1DA-C825ECC08A2E}" dt="2022-11-12T16:42:14.646" v="563"/>
          <ac:spMkLst>
            <pc:docMk/>
            <pc:sldMk cId="35582438" sldId="4009"/>
            <ac:spMk id="62" creationId="{6C65CFEA-F271-7E87-26CF-5E6A071292D6}"/>
          </ac:spMkLst>
        </pc:spChg>
        <pc:grpChg chg="del">
          <ac:chgData name="Yaroslav Zhydyk" userId="feca11449df7c5ed" providerId="LiveId" clId="{DEB4F5E9-665E-474A-A1DA-C825ECC08A2E}" dt="2022-11-12T16:41:54.711" v="559" actId="478"/>
          <ac:grpSpMkLst>
            <pc:docMk/>
            <pc:sldMk cId="35582438" sldId="4009"/>
            <ac:grpSpMk id="3" creationId="{861F8F99-21AC-81D8-B089-64F2B12FD06E}"/>
          </ac:grpSpMkLst>
        </pc:grpChg>
        <pc:grpChg chg="add del mod">
          <ac:chgData name="Yaroslav Zhydyk" userId="feca11449df7c5ed" providerId="LiveId" clId="{DEB4F5E9-665E-474A-A1DA-C825ECC08A2E}" dt="2022-11-12T16:42:26.366" v="566" actId="478"/>
          <ac:grpSpMkLst>
            <pc:docMk/>
            <pc:sldMk cId="35582438" sldId="4009"/>
            <ac:grpSpMk id="11" creationId="{600E367C-3016-03E9-A32E-E9B984AC5BFD}"/>
          </ac:grpSpMkLst>
        </pc:grpChg>
        <pc:grpChg chg="add mod">
          <ac:chgData name="Yaroslav Zhydyk" userId="feca11449df7c5ed" providerId="LiveId" clId="{DEB4F5E9-665E-474A-A1DA-C825ECC08A2E}" dt="2022-11-12T16:42:08.144" v="560"/>
          <ac:grpSpMkLst>
            <pc:docMk/>
            <pc:sldMk cId="35582438" sldId="4009"/>
            <ac:grpSpMk id="21" creationId="{90E17CF6-4CF9-00E5-0556-2A7364BC0EB4}"/>
          </ac:grpSpMkLst>
        </pc:grpChg>
        <pc:grpChg chg="mod">
          <ac:chgData name="Yaroslav Zhydyk" userId="feca11449df7c5ed" providerId="LiveId" clId="{DEB4F5E9-665E-474A-A1DA-C825ECC08A2E}" dt="2022-11-12T16:42:08.144" v="560"/>
          <ac:grpSpMkLst>
            <pc:docMk/>
            <pc:sldMk cId="35582438" sldId="4009"/>
            <ac:grpSpMk id="23" creationId="{42A86D67-5C2C-E16F-813C-EE3ABD155EC6}"/>
          </ac:grpSpMkLst>
        </pc:grpChg>
        <pc:grpChg chg="add mod">
          <ac:chgData name="Yaroslav Zhydyk" userId="feca11449df7c5ed" providerId="LiveId" clId="{DEB4F5E9-665E-474A-A1DA-C825ECC08A2E}" dt="2022-11-12T16:42:23.289" v="565" actId="14100"/>
          <ac:grpSpMkLst>
            <pc:docMk/>
            <pc:sldMk cId="35582438" sldId="4009"/>
            <ac:grpSpMk id="30" creationId="{7CBC1EC3-1FA7-2BE4-BA99-083E504D0ADC}"/>
          </ac:grpSpMkLst>
        </pc:grpChg>
        <pc:grpChg chg="mod">
          <ac:chgData name="Yaroslav Zhydyk" userId="feca11449df7c5ed" providerId="LiveId" clId="{DEB4F5E9-665E-474A-A1DA-C825ECC08A2E}" dt="2022-11-12T16:42:14.646" v="563"/>
          <ac:grpSpMkLst>
            <pc:docMk/>
            <pc:sldMk cId="35582438" sldId="4009"/>
            <ac:grpSpMk id="32" creationId="{AF2ABCAC-F46B-8956-6BAE-DB8558FFA330}"/>
          </ac:grpSpMkLst>
        </pc:grpChg>
        <pc:grpChg chg="mod">
          <ac:chgData name="Yaroslav Zhydyk" userId="feca11449df7c5ed" providerId="LiveId" clId="{DEB4F5E9-665E-474A-A1DA-C825ECC08A2E}" dt="2022-11-12T16:42:14.646" v="563"/>
          <ac:grpSpMkLst>
            <pc:docMk/>
            <pc:sldMk cId="35582438" sldId="4009"/>
            <ac:grpSpMk id="33" creationId="{9DB770FA-588F-9FDE-B728-BA4008E6FC89}"/>
          </ac:grpSpMkLst>
        </pc:grpChg>
        <pc:grpChg chg="mod">
          <ac:chgData name="Yaroslav Zhydyk" userId="feca11449df7c5ed" providerId="LiveId" clId="{DEB4F5E9-665E-474A-A1DA-C825ECC08A2E}" dt="2022-11-12T16:42:14.646" v="563"/>
          <ac:grpSpMkLst>
            <pc:docMk/>
            <pc:sldMk cId="35582438" sldId="4009"/>
            <ac:grpSpMk id="34" creationId="{65E36199-7555-BDA0-F9BE-CEA434FDB330}"/>
          </ac:grpSpMkLst>
        </pc:grpChg>
        <pc:grpChg chg="mod">
          <ac:chgData name="Yaroslav Zhydyk" userId="feca11449df7c5ed" providerId="LiveId" clId="{DEB4F5E9-665E-474A-A1DA-C825ECC08A2E}" dt="2022-11-12T16:42:14.646" v="563"/>
          <ac:grpSpMkLst>
            <pc:docMk/>
            <pc:sldMk cId="35582438" sldId="4009"/>
            <ac:grpSpMk id="35" creationId="{C08933A4-4D69-AA60-CA1C-668C80D1FBD9}"/>
          </ac:grpSpMkLst>
        </pc:grpChg>
        <pc:grpChg chg="mod">
          <ac:chgData name="Yaroslav Zhydyk" userId="feca11449df7c5ed" providerId="LiveId" clId="{DEB4F5E9-665E-474A-A1DA-C825ECC08A2E}" dt="2022-11-12T16:42:14.646" v="563"/>
          <ac:grpSpMkLst>
            <pc:docMk/>
            <pc:sldMk cId="35582438" sldId="4009"/>
            <ac:grpSpMk id="36" creationId="{C2ADF4E8-2CBD-13CF-CE28-C9907E6C67F6}"/>
          </ac:grpSpMkLst>
        </pc:grpChg>
        <pc:grpChg chg="del">
          <ac:chgData name="Yaroslav Zhydyk" userId="feca11449df7c5ed" providerId="LiveId" clId="{DEB4F5E9-665E-474A-A1DA-C825ECC08A2E}" dt="2022-11-12T16:41:54.711" v="559" actId="478"/>
          <ac:grpSpMkLst>
            <pc:docMk/>
            <pc:sldMk cId="35582438" sldId="4009"/>
            <ac:grpSpMk id="45" creationId="{677693A0-D4A8-A9CF-66D0-410EED09B116}"/>
          </ac:grpSpMkLst>
        </pc:grpChg>
        <pc:picChg chg="mod">
          <ac:chgData name="Yaroslav Zhydyk" userId="feca11449df7c5ed" providerId="LiveId" clId="{DEB4F5E9-665E-474A-A1DA-C825ECC08A2E}" dt="2022-11-12T16:42:14.646" v="563"/>
          <ac:picMkLst>
            <pc:docMk/>
            <pc:sldMk cId="35582438" sldId="4009"/>
            <ac:picMk id="48" creationId="{7B33D255-0697-0F29-0C26-7E5C553C61E3}"/>
          </ac:picMkLst>
        </pc:picChg>
        <pc:picChg chg="mod">
          <ac:chgData name="Yaroslav Zhydyk" userId="feca11449df7c5ed" providerId="LiveId" clId="{DEB4F5E9-665E-474A-A1DA-C825ECC08A2E}" dt="2022-11-12T16:42:14.646" v="563"/>
          <ac:picMkLst>
            <pc:docMk/>
            <pc:sldMk cId="35582438" sldId="4009"/>
            <ac:picMk id="49" creationId="{C1B80912-A310-680E-9C15-5B066F44F48E}"/>
          </ac:picMkLst>
        </pc:picChg>
        <pc:picChg chg="mod">
          <ac:chgData name="Yaroslav Zhydyk" userId="feca11449df7c5ed" providerId="LiveId" clId="{DEB4F5E9-665E-474A-A1DA-C825ECC08A2E}" dt="2022-11-12T16:42:14.646" v="563"/>
          <ac:picMkLst>
            <pc:docMk/>
            <pc:sldMk cId="35582438" sldId="4009"/>
            <ac:picMk id="50" creationId="{28F80677-C460-B7A6-03E2-EAD5E478F7C2}"/>
          </ac:picMkLst>
        </pc:picChg>
        <pc:picChg chg="mod">
          <ac:chgData name="Yaroslav Zhydyk" userId="feca11449df7c5ed" providerId="LiveId" clId="{DEB4F5E9-665E-474A-A1DA-C825ECC08A2E}" dt="2022-11-12T16:42:14.646" v="563"/>
          <ac:picMkLst>
            <pc:docMk/>
            <pc:sldMk cId="35582438" sldId="4009"/>
            <ac:picMk id="51" creationId="{27313D0C-8BAF-421C-B3EF-3EDC40A6BA87}"/>
          </ac:picMkLst>
        </pc:picChg>
        <pc:picChg chg="mod">
          <ac:chgData name="Yaroslav Zhydyk" userId="feca11449df7c5ed" providerId="LiveId" clId="{DEB4F5E9-665E-474A-A1DA-C825ECC08A2E}" dt="2022-11-12T16:42:14.646" v="563"/>
          <ac:picMkLst>
            <pc:docMk/>
            <pc:sldMk cId="35582438" sldId="4009"/>
            <ac:picMk id="52" creationId="{C3119A1D-E562-A21C-3D57-D7CD3E194DED}"/>
          </ac:picMkLst>
        </pc:picChg>
        <pc:cxnChg chg="mod">
          <ac:chgData name="Yaroslav Zhydyk" userId="feca11449df7c5ed" providerId="LiveId" clId="{DEB4F5E9-665E-474A-A1DA-C825ECC08A2E}" dt="2022-11-12T16:42:14.646" v="563"/>
          <ac:cxnSpMkLst>
            <pc:docMk/>
            <pc:sldMk cId="35582438" sldId="4009"/>
            <ac:cxnSpMk id="37" creationId="{198BD586-FD5E-DB02-B8B6-6EB4B4BF8860}"/>
          </ac:cxnSpMkLst>
        </pc:cxnChg>
        <pc:cxnChg chg="mod">
          <ac:chgData name="Yaroslav Zhydyk" userId="feca11449df7c5ed" providerId="LiveId" clId="{DEB4F5E9-665E-474A-A1DA-C825ECC08A2E}" dt="2022-11-12T16:42:14.646" v="563"/>
          <ac:cxnSpMkLst>
            <pc:docMk/>
            <pc:sldMk cId="35582438" sldId="4009"/>
            <ac:cxnSpMk id="38" creationId="{B778ED49-176A-C1E9-38E0-17B3B59CD719}"/>
          </ac:cxnSpMkLst>
        </pc:cxnChg>
        <pc:cxnChg chg="mod">
          <ac:chgData name="Yaroslav Zhydyk" userId="feca11449df7c5ed" providerId="LiveId" clId="{DEB4F5E9-665E-474A-A1DA-C825ECC08A2E}" dt="2022-11-12T16:42:14.646" v="563"/>
          <ac:cxnSpMkLst>
            <pc:docMk/>
            <pc:sldMk cId="35582438" sldId="4009"/>
            <ac:cxnSpMk id="46" creationId="{41FA7817-E4AB-73B6-A920-E44B43FADC9D}"/>
          </ac:cxnSpMkLst>
        </pc:cxnChg>
        <pc:cxnChg chg="mod">
          <ac:chgData name="Yaroslav Zhydyk" userId="feca11449df7c5ed" providerId="LiveId" clId="{DEB4F5E9-665E-474A-A1DA-C825ECC08A2E}" dt="2022-11-12T16:42:14.646" v="563"/>
          <ac:cxnSpMkLst>
            <pc:docMk/>
            <pc:sldMk cId="35582438" sldId="4009"/>
            <ac:cxnSpMk id="47" creationId="{727A6216-CDBB-26EC-2C66-46293608066B}"/>
          </ac:cxnSpMkLst>
        </pc:cxnChg>
        <pc:cxnChg chg="add del mod">
          <ac:chgData name="Yaroslav Zhydyk" userId="feca11449df7c5ed" providerId="LiveId" clId="{DEB4F5E9-665E-474A-A1DA-C825ECC08A2E}" dt="2022-11-12T16:42:40.579" v="569" actId="478"/>
          <ac:cxnSpMkLst>
            <pc:docMk/>
            <pc:sldMk cId="35582438" sldId="4009"/>
            <ac:cxnSpMk id="63" creationId="{5AC11453-73D3-BD06-0F1D-7BA50AE232A5}"/>
          </ac:cxnSpMkLst>
        </pc:cxnChg>
      </pc:sldChg>
      <pc:sldChg chg="add del">
        <pc:chgData name="Yaroslav Zhydyk" userId="feca11449df7c5ed" providerId="LiveId" clId="{DEB4F5E9-665E-474A-A1DA-C825ECC08A2E}" dt="2022-11-12T16:41:38.216" v="553" actId="2696"/>
        <pc:sldMkLst>
          <pc:docMk/>
          <pc:sldMk cId="2476397820" sldId="4009"/>
        </pc:sldMkLst>
      </pc:sldChg>
      <pc:sldChg chg="addSp delSp modSp add mod">
        <pc:chgData name="Yaroslav Zhydyk" userId="feca11449df7c5ed" providerId="LiveId" clId="{DEB4F5E9-665E-474A-A1DA-C825ECC08A2E}" dt="2022-11-12T16:45:09.214" v="598" actId="1076"/>
        <pc:sldMkLst>
          <pc:docMk/>
          <pc:sldMk cId="2107281506" sldId="4010"/>
        </pc:sldMkLst>
        <pc:spChg chg="mod">
          <ac:chgData name="Yaroslav Zhydyk" userId="feca11449df7c5ed" providerId="LiveId" clId="{DEB4F5E9-665E-474A-A1DA-C825ECC08A2E}" dt="2022-11-12T16:43:56.086" v="582" actId="207"/>
          <ac:spMkLst>
            <pc:docMk/>
            <pc:sldMk cId="2107281506" sldId="4010"/>
            <ac:spMk id="2" creationId="{CF2BB424-F0DA-61D3-FABA-A7B73AAE46CF}"/>
          </ac:spMkLst>
        </pc:spChg>
        <pc:spChg chg="mod topLvl">
          <ac:chgData name="Yaroslav Zhydyk" userId="feca11449df7c5ed" providerId="LiveId" clId="{DEB4F5E9-665E-474A-A1DA-C825ECC08A2E}" dt="2022-11-12T16:44:04.881" v="583" actId="165"/>
          <ac:spMkLst>
            <pc:docMk/>
            <pc:sldMk cId="2107281506" sldId="4010"/>
            <ac:spMk id="4" creationId="{75049A83-B8FD-80A2-6C83-3104E1E3020F}"/>
          </ac:spMkLst>
        </pc:spChg>
        <pc:spChg chg="del mod topLvl">
          <ac:chgData name="Yaroslav Zhydyk" userId="feca11449df7c5ed" providerId="LiveId" clId="{DEB4F5E9-665E-474A-A1DA-C825ECC08A2E}" dt="2022-11-12T16:44:07.782" v="584" actId="478"/>
          <ac:spMkLst>
            <pc:docMk/>
            <pc:sldMk cId="2107281506" sldId="4010"/>
            <ac:spMk id="5" creationId="{0D6AC2D8-BD35-6FDE-9393-4F5204BCBBBB}"/>
          </ac:spMkLst>
        </pc:spChg>
        <pc:spChg chg="del mod topLvl">
          <ac:chgData name="Yaroslav Zhydyk" userId="feca11449df7c5ed" providerId="LiveId" clId="{DEB4F5E9-665E-474A-A1DA-C825ECC08A2E}" dt="2022-11-12T16:44:07.782" v="584" actId="478"/>
          <ac:spMkLst>
            <pc:docMk/>
            <pc:sldMk cId="2107281506" sldId="4010"/>
            <ac:spMk id="6" creationId="{04A9C104-1AE7-262D-0804-B41597C7B530}"/>
          </ac:spMkLst>
        </pc:spChg>
        <pc:spChg chg="del mod topLvl">
          <ac:chgData name="Yaroslav Zhydyk" userId="feca11449df7c5ed" providerId="LiveId" clId="{DEB4F5E9-665E-474A-A1DA-C825ECC08A2E}" dt="2022-11-12T16:44:07.782" v="584" actId="478"/>
          <ac:spMkLst>
            <pc:docMk/>
            <pc:sldMk cId="2107281506" sldId="4010"/>
            <ac:spMk id="7" creationId="{F346A4AF-41B1-5030-06A0-865FCB723BD7}"/>
          </ac:spMkLst>
        </pc:spChg>
        <pc:spChg chg="del mod topLvl">
          <ac:chgData name="Yaroslav Zhydyk" userId="feca11449df7c5ed" providerId="LiveId" clId="{DEB4F5E9-665E-474A-A1DA-C825ECC08A2E}" dt="2022-11-12T16:44:07.782" v="584" actId="478"/>
          <ac:spMkLst>
            <pc:docMk/>
            <pc:sldMk cId="2107281506" sldId="4010"/>
            <ac:spMk id="8" creationId="{F64E4848-8B55-96BE-0D63-08F1BC6E7900}"/>
          </ac:spMkLst>
        </pc:spChg>
        <pc:spChg chg="del mod topLvl">
          <ac:chgData name="Yaroslav Zhydyk" userId="feca11449df7c5ed" providerId="LiveId" clId="{DEB4F5E9-665E-474A-A1DA-C825ECC08A2E}" dt="2022-11-12T16:44:07.782" v="584" actId="478"/>
          <ac:spMkLst>
            <pc:docMk/>
            <pc:sldMk cId="2107281506" sldId="4010"/>
            <ac:spMk id="9" creationId="{B46D46D1-7F59-8331-C68D-0853F0686220}"/>
          </ac:spMkLst>
        </pc:spChg>
        <pc:spChg chg="del mod topLvl">
          <ac:chgData name="Yaroslav Zhydyk" userId="feca11449df7c5ed" providerId="LiveId" clId="{DEB4F5E9-665E-474A-A1DA-C825ECC08A2E}" dt="2022-11-12T16:44:07.782" v="584" actId="478"/>
          <ac:spMkLst>
            <pc:docMk/>
            <pc:sldMk cId="2107281506" sldId="4010"/>
            <ac:spMk id="10" creationId="{183D2C56-E873-E2AC-7D0E-38B3476E51D2}"/>
          </ac:spMkLst>
        </pc:spChg>
        <pc:spChg chg="mod topLvl">
          <ac:chgData name="Yaroslav Zhydyk" userId="feca11449df7c5ed" providerId="LiveId" clId="{DEB4F5E9-665E-474A-A1DA-C825ECC08A2E}" dt="2022-11-12T16:44:38.472" v="594" actId="165"/>
          <ac:spMkLst>
            <pc:docMk/>
            <pc:sldMk cId="2107281506" sldId="4010"/>
            <ac:spMk id="12" creationId="{3462E3F2-3BBA-53D9-3A13-B61E08E91785}"/>
          </ac:spMkLst>
        </pc:spChg>
        <pc:spChg chg="mod">
          <ac:chgData name="Yaroslav Zhydyk" userId="feca11449df7c5ed" providerId="LiveId" clId="{DEB4F5E9-665E-474A-A1DA-C825ECC08A2E}" dt="2022-11-12T16:44:22.025" v="587" actId="14100"/>
          <ac:spMkLst>
            <pc:docMk/>
            <pc:sldMk cId="2107281506" sldId="4010"/>
            <ac:spMk id="13" creationId="{8CA97CA7-BDFF-0BA4-E0F6-C58389541090}"/>
          </ac:spMkLst>
        </pc:spChg>
        <pc:spChg chg="mod">
          <ac:chgData name="Yaroslav Zhydyk" userId="feca11449df7c5ed" providerId="LiveId" clId="{DEB4F5E9-665E-474A-A1DA-C825ECC08A2E}" dt="2022-11-12T16:44:38.472" v="594" actId="165"/>
          <ac:spMkLst>
            <pc:docMk/>
            <pc:sldMk cId="2107281506" sldId="4010"/>
            <ac:spMk id="14" creationId="{DE3A5ADE-515F-4748-7331-702562E0605E}"/>
          </ac:spMkLst>
        </pc:spChg>
        <pc:spChg chg="mod">
          <ac:chgData name="Yaroslav Zhydyk" userId="feca11449df7c5ed" providerId="LiveId" clId="{DEB4F5E9-665E-474A-A1DA-C825ECC08A2E}" dt="2022-11-12T16:44:08.180" v="585"/>
          <ac:spMkLst>
            <pc:docMk/>
            <pc:sldMk cId="2107281506" sldId="4010"/>
            <ac:spMk id="15" creationId="{740514FE-972E-54C7-730C-B90E4E2693DE}"/>
          </ac:spMkLst>
        </pc:spChg>
        <pc:spChg chg="mod">
          <ac:chgData name="Yaroslav Zhydyk" userId="feca11449df7c5ed" providerId="LiveId" clId="{DEB4F5E9-665E-474A-A1DA-C825ECC08A2E}" dt="2022-11-12T16:44:08.180" v="585"/>
          <ac:spMkLst>
            <pc:docMk/>
            <pc:sldMk cId="2107281506" sldId="4010"/>
            <ac:spMk id="17" creationId="{90D2CC3D-BC14-9A54-F097-ABA945FA219D}"/>
          </ac:spMkLst>
        </pc:spChg>
        <pc:spChg chg="mod">
          <ac:chgData name="Yaroslav Zhydyk" userId="feca11449df7c5ed" providerId="LiveId" clId="{DEB4F5E9-665E-474A-A1DA-C825ECC08A2E}" dt="2022-11-12T16:44:25.715" v="588" actId="14100"/>
          <ac:spMkLst>
            <pc:docMk/>
            <pc:sldMk cId="2107281506" sldId="4010"/>
            <ac:spMk id="18" creationId="{84C49291-5853-6D19-E35C-BADF5C8E6A43}"/>
          </ac:spMkLst>
        </pc:spChg>
        <pc:spChg chg="mod">
          <ac:chgData name="Yaroslav Zhydyk" userId="feca11449df7c5ed" providerId="LiveId" clId="{DEB4F5E9-665E-474A-A1DA-C825ECC08A2E}" dt="2022-11-12T16:44:08.180" v="585"/>
          <ac:spMkLst>
            <pc:docMk/>
            <pc:sldMk cId="2107281506" sldId="4010"/>
            <ac:spMk id="20" creationId="{A42D9833-72A6-183D-6A04-3EC54F161D3A}"/>
          </ac:spMkLst>
        </pc:spChg>
        <pc:spChg chg="mod">
          <ac:chgData name="Yaroslav Zhydyk" userId="feca11449df7c5ed" providerId="LiveId" clId="{DEB4F5E9-665E-474A-A1DA-C825ECC08A2E}" dt="2022-11-12T16:44:28.671" v="589" actId="14100"/>
          <ac:spMkLst>
            <pc:docMk/>
            <pc:sldMk cId="2107281506" sldId="4010"/>
            <ac:spMk id="21" creationId="{5DE041FE-6E0F-5D92-633C-F8AE09B7BB7E}"/>
          </ac:spMkLst>
        </pc:spChg>
        <pc:spChg chg="mod">
          <ac:chgData name="Yaroslav Zhydyk" userId="feca11449df7c5ed" providerId="LiveId" clId="{DEB4F5E9-665E-474A-A1DA-C825ECC08A2E}" dt="2022-11-12T16:44:08.180" v="585"/>
          <ac:spMkLst>
            <pc:docMk/>
            <pc:sldMk cId="2107281506" sldId="4010"/>
            <ac:spMk id="23" creationId="{160DD564-02ED-8452-D5D7-BB5BC108B993}"/>
          </ac:spMkLst>
        </pc:spChg>
        <pc:spChg chg="mod">
          <ac:chgData name="Yaroslav Zhydyk" userId="feca11449df7c5ed" providerId="LiveId" clId="{DEB4F5E9-665E-474A-A1DA-C825ECC08A2E}" dt="2022-11-12T16:44:33.070" v="592" actId="14100"/>
          <ac:spMkLst>
            <pc:docMk/>
            <pc:sldMk cId="2107281506" sldId="4010"/>
            <ac:spMk id="24" creationId="{450943A6-EB0F-CB16-00CD-1A7B50B33B9E}"/>
          </ac:spMkLst>
        </pc:spChg>
        <pc:spChg chg="mod">
          <ac:chgData name="Yaroslav Zhydyk" userId="feca11449df7c5ed" providerId="LiveId" clId="{DEB4F5E9-665E-474A-A1DA-C825ECC08A2E}" dt="2022-11-12T16:44:08.180" v="585"/>
          <ac:spMkLst>
            <pc:docMk/>
            <pc:sldMk cId="2107281506" sldId="4010"/>
            <ac:spMk id="26" creationId="{8B71477B-4069-A7D1-58CB-E9ED8097E71C}"/>
          </ac:spMkLst>
        </pc:spChg>
        <pc:spChg chg="mod">
          <ac:chgData name="Yaroslav Zhydyk" userId="feca11449df7c5ed" providerId="LiveId" clId="{DEB4F5E9-665E-474A-A1DA-C825ECC08A2E}" dt="2022-11-12T16:44:35.387" v="593" actId="14100"/>
          <ac:spMkLst>
            <pc:docMk/>
            <pc:sldMk cId="2107281506" sldId="4010"/>
            <ac:spMk id="27" creationId="{DB9F73BD-86BA-86D7-A0E8-29FA4E0CF4B8}"/>
          </ac:spMkLst>
        </pc:spChg>
        <pc:spChg chg="mod">
          <ac:chgData name="Yaroslav Zhydyk" userId="feca11449df7c5ed" providerId="LiveId" clId="{DEB4F5E9-665E-474A-A1DA-C825ECC08A2E}" dt="2022-11-12T16:44:47.359" v="596"/>
          <ac:spMkLst>
            <pc:docMk/>
            <pc:sldMk cId="2107281506" sldId="4010"/>
            <ac:spMk id="29" creationId="{2DC2199C-EEDC-4944-112D-C62DB5801906}"/>
          </ac:spMkLst>
        </pc:spChg>
        <pc:spChg chg="mod">
          <ac:chgData name="Yaroslav Zhydyk" userId="feca11449df7c5ed" providerId="LiveId" clId="{DEB4F5E9-665E-474A-A1DA-C825ECC08A2E}" dt="2022-11-12T16:44:47.359" v="596"/>
          <ac:spMkLst>
            <pc:docMk/>
            <pc:sldMk cId="2107281506" sldId="4010"/>
            <ac:spMk id="30" creationId="{F62C22AC-18EC-A661-1662-58FBB37A5136}"/>
          </ac:spMkLst>
        </pc:spChg>
        <pc:spChg chg="mod">
          <ac:chgData name="Yaroslav Zhydyk" userId="feca11449df7c5ed" providerId="LiveId" clId="{DEB4F5E9-665E-474A-A1DA-C825ECC08A2E}" dt="2022-11-12T16:44:47.359" v="596"/>
          <ac:spMkLst>
            <pc:docMk/>
            <pc:sldMk cId="2107281506" sldId="4010"/>
            <ac:spMk id="31" creationId="{D4D79ED2-ECD6-DCBD-8BAD-601B76B7EF46}"/>
          </ac:spMkLst>
        </pc:spChg>
        <pc:spChg chg="mod">
          <ac:chgData name="Yaroslav Zhydyk" userId="feca11449df7c5ed" providerId="LiveId" clId="{DEB4F5E9-665E-474A-A1DA-C825ECC08A2E}" dt="2022-11-12T16:44:47.359" v="596"/>
          <ac:spMkLst>
            <pc:docMk/>
            <pc:sldMk cId="2107281506" sldId="4010"/>
            <ac:spMk id="33" creationId="{A9344F1A-26A8-373C-28B0-87DBE57D6DAA}"/>
          </ac:spMkLst>
        </pc:spChg>
        <pc:spChg chg="mod">
          <ac:chgData name="Yaroslav Zhydyk" userId="feca11449df7c5ed" providerId="LiveId" clId="{DEB4F5E9-665E-474A-A1DA-C825ECC08A2E}" dt="2022-11-12T16:44:47.359" v="596"/>
          <ac:spMkLst>
            <pc:docMk/>
            <pc:sldMk cId="2107281506" sldId="4010"/>
            <ac:spMk id="34" creationId="{0EB353F2-3496-5FE6-193F-C22AC70FF9BB}"/>
          </ac:spMkLst>
        </pc:spChg>
        <pc:spChg chg="mod">
          <ac:chgData name="Yaroslav Zhydyk" userId="feca11449df7c5ed" providerId="LiveId" clId="{DEB4F5E9-665E-474A-A1DA-C825ECC08A2E}" dt="2022-11-12T16:44:47.359" v="596"/>
          <ac:spMkLst>
            <pc:docMk/>
            <pc:sldMk cId="2107281506" sldId="4010"/>
            <ac:spMk id="36" creationId="{D541D34F-EF74-8750-ADE0-F293FFE31A29}"/>
          </ac:spMkLst>
        </pc:spChg>
        <pc:spChg chg="mod">
          <ac:chgData name="Yaroslav Zhydyk" userId="feca11449df7c5ed" providerId="LiveId" clId="{DEB4F5E9-665E-474A-A1DA-C825ECC08A2E}" dt="2022-11-12T16:44:47.359" v="596"/>
          <ac:spMkLst>
            <pc:docMk/>
            <pc:sldMk cId="2107281506" sldId="4010"/>
            <ac:spMk id="37" creationId="{8932D54F-B62D-E741-1F4F-D85A71B68E00}"/>
          </ac:spMkLst>
        </pc:spChg>
        <pc:spChg chg="mod">
          <ac:chgData name="Yaroslav Zhydyk" userId="feca11449df7c5ed" providerId="LiveId" clId="{DEB4F5E9-665E-474A-A1DA-C825ECC08A2E}" dt="2022-11-12T16:44:47.359" v="596"/>
          <ac:spMkLst>
            <pc:docMk/>
            <pc:sldMk cId="2107281506" sldId="4010"/>
            <ac:spMk id="38" creationId="{DE8F172D-1E20-E366-DFF5-3AF7A0CCA3E6}"/>
          </ac:spMkLst>
        </pc:spChg>
        <pc:spChg chg="mod">
          <ac:chgData name="Yaroslav Zhydyk" userId="feca11449df7c5ed" providerId="LiveId" clId="{DEB4F5E9-665E-474A-A1DA-C825ECC08A2E}" dt="2022-11-12T16:44:38.472" v="594" actId="165"/>
          <ac:spMkLst>
            <pc:docMk/>
            <pc:sldMk cId="2107281506" sldId="4010"/>
            <ac:spMk id="39" creationId="{347F591E-9C1B-F6A8-E6AD-555B8984531E}"/>
          </ac:spMkLst>
        </pc:spChg>
        <pc:spChg chg="mod">
          <ac:chgData name="Yaroslav Zhydyk" userId="feca11449df7c5ed" providerId="LiveId" clId="{DEB4F5E9-665E-474A-A1DA-C825ECC08A2E}" dt="2022-11-12T16:44:38.472" v="594" actId="165"/>
          <ac:spMkLst>
            <pc:docMk/>
            <pc:sldMk cId="2107281506" sldId="4010"/>
            <ac:spMk id="40" creationId="{BBCBB212-82E7-B4D5-4B50-D8763F9176B6}"/>
          </ac:spMkLst>
        </pc:spChg>
        <pc:spChg chg="mod">
          <ac:chgData name="Yaroslav Zhydyk" userId="feca11449df7c5ed" providerId="LiveId" clId="{DEB4F5E9-665E-474A-A1DA-C825ECC08A2E}" dt="2022-11-12T16:44:38.472" v="594" actId="165"/>
          <ac:spMkLst>
            <pc:docMk/>
            <pc:sldMk cId="2107281506" sldId="4010"/>
            <ac:spMk id="41" creationId="{BCEBF701-FD68-096D-3DCE-26E85106EA28}"/>
          </ac:spMkLst>
        </pc:spChg>
        <pc:spChg chg="mod">
          <ac:chgData name="Yaroslav Zhydyk" userId="feca11449df7c5ed" providerId="LiveId" clId="{DEB4F5E9-665E-474A-A1DA-C825ECC08A2E}" dt="2022-11-12T16:44:38.472" v="594" actId="165"/>
          <ac:spMkLst>
            <pc:docMk/>
            <pc:sldMk cId="2107281506" sldId="4010"/>
            <ac:spMk id="42" creationId="{62D85D63-6213-DC14-0A74-BD08B747055C}"/>
          </ac:spMkLst>
        </pc:spChg>
        <pc:spChg chg="mod">
          <ac:chgData name="Yaroslav Zhydyk" userId="feca11449df7c5ed" providerId="LiveId" clId="{DEB4F5E9-665E-474A-A1DA-C825ECC08A2E}" dt="2022-11-12T16:44:38.472" v="594" actId="165"/>
          <ac:spMkLst>
            <pc:docMk/>
            <pc:sldMk cId="2107281506" sldId="4010"/>
            <ac:spMk id="43" creationId="{335CFEED-FF60-B4BF-5D4C-5B99EBD673A7}"/>
          </ac:spMkLst>
        </pc:spChg>
        <pc:spChg chg="mod">
          <ac:chgData name="Yaroslav Zhydyk" userId="feca11449df7c5ed" providerId="LiveId" clId="{DEB4F5E9-665E-474A-A1DA-C825ECC08A2E}" dt="2022-11-12T16:44:47.359" v="596"/>
          <ac:spMkLst>
            <pc:docMk/>
            <pc:sldMk cId="2107281506" sldId="4010"/>
            <ac:spMk id="47" creationId="{B0BE603E-4093-1B82-49C2-235CD16E0B11}"/>
          </ac:spMkLst>
        </pc:spChg>
        <pc:spChg chg="mod">
          <ac:chgData name="Yaroslav Zhydyk" userId="feca11449df7c5ed" providerId="LiveId" clId="{DEB4F5E9-665E-474A-A1DA-C825ECC08A2E}" dt="2022-11-12T16:44:47.359" v="596"/>
          <ac:spMkLst>
            <pc:docMk/>
            <pc:sldMk cId="2107281506" sldId="4010"/>
            <ac:spMk id="48" creationId="{E17C9E46-5029-7923-4872-C45AF39E9132}"/>
          </ac:spMkLst>
        </pc:spChg>
        <pc:spChg chg="mod">
          <ac:chgData name="Yaroslav Zhydyk" userId="feca11449df7c5ed" providerId="LiveId" clId="{DEB4F5E9-665E-474A-A1DA-C825ECC08A2E}" dt="2022-11-12T16:44:47.359" v="596"/>
          <ac:spMkLst>
            <pc:docMk/>
            <pc:sldMk cId="2107281506" sldId="4010"/>
            <ac:spMk id="50" creationId="{2065B808-B982-2259-6D9A-26E7234C2193}"/>
          </ac:spMkLst>
        </pc:spChg>
        <pc:spChg chg="mod">
          <ac:chgData name="Yaroslav Zhydyk" userId="feca11449df7c5ed" providerId="LiveId" clId="{DEB4F5E9-665E-474A-A1DA-C825ECC08A2E}" dt="2022-11-12T16:44:47.359" v="596"/>
          <ac:spMkLst>
            <pc:docMk/>
            <pc:sldMk cId="2107281506" sldId="4010"/>
            <ac:spMk id="51" creationId="{33E64042-3832-2CE3-114F-09EA9F5953A7}"/>
          </ac:spMkLst>
        </pc:spChg>
        <pc:grpChg chg="del">
          <ac:chgData name="Yaroslav Zhydyk" userId="feca11449df7c5ed" providerId="LiveId" clId="{DEB4F5E9-665E-474A-A1DA-C825ECC08A2E}" dt="2022-11-12T16:44:04.881" v="583" actId="165"/>
          <ac:grpSpMkLst>
            <pc:docMk/>
            <pc:sldMk cId="2107281506" sldId="4010"/>
            <ac:grpSpMk id="3" creationId="{861F8F99-21AC-81D8-B089-64F2B12FD06E}"/>
          </ac:grpSpMkLst>
        </pc:grpChg>
        <pc:grpChg chg="add mod">
          <ac:chgData name="Yaroslav Zhydyk" userId="feca11449df7c5ed" providerId="LiveId" clId="{DEB4F5E9-665E-474A-A1DA-C825ECC08A2E}" dt="2022-11-12T16:44:17.707" v="586" actId="1076"/>
          <ac:grpSpMkLst>
            <pc:docMk/>
            <pc:sldMk cId="2107281506" sldId="4010"/>
            <ac:grpSpMk id="11" creationId="{EADDE2F0-9B65-D4B5-0AE7-302880896535}"/>
          </ac:grpSpMkLst>
        </pc:grpChg>
        <pc:grpChg chg="add mod">
          <ac:chgData name="Yaroslav Zhydyk" userId="feca11449df7c5ed" providerId="LiveId" clId="{DEB4F5E9-665E-474A-A1DA-C825ECC08A2E}" dt="2022-11-12T16:44:17.707" v="586" actId="1076"/>
          <ac:grpSpMkLst>
            <pc:docMk/>
            <pc:sldMk cId="2107281506" sldId="4010"/>
            <ac:grpSpMk id="16" creationId="{25F9BC16-538B-464F-1729-D06EE20189A3}"/>
          </ac:grpSpMkLst>
        </pc:grpChg>
        <pc:grpChg chg="add mod">
          <ac:chgData name="Yaroslav Zhydyk" userId="feca11449df7c5ed" providerId="LiveId" clId="{DEB4F5E9-665E-474A-A1DA-C825ECC08A2E}" dt="2022-11-12T16:44:17.707" v="586" actId="1076"/>
          <ac:grpSpMkLst>
            <pc:docMk/>
            <pc:sldMk cId="2107281506" sldId="4010"/>
            <ac:grpSpMk id="19" creationId="{85CFCBDA-DB1E-20AC-DE08-8407BF94F06C}"/>
          </ac:grpSpMkLst>
        </pc:grpChg>
        <pc:grpChg chg="add mod">
          <ac:chgData name="Yaroslav Zhydyk" userId="feca11449df7c5ed" providerId="LiveId" clId="{DEB4F5E9-665E-474A-A1DA-C825ECC08A2E}" dt="2022-11-12T16:44:17.707" v="586" actId="1076"/>
          <ac:grpSpMkLst>
            <pc:docMk/>
            <pc:sldMk cId="2107281506" sldId="4010"/>
            <ac:grpSpMk id="22" creationId="{8A8AE60D-5BD8-CA9A-3E64-448985AF594B}"/>
          </ac:grpSpMkLst>
        </pc:grpChg>
        <pc:grpChg chg="add mod">
          <ac:chgData name="Yaroslav Zhydyk" userId="feca11449df7c5ed" providerId="LiveId" clId="{DEB4F5E9-665E-474A-A1DA-C825ECC08A2E}" dt="2022-11-12T16:44:17.707" v="586" actId="1076"/>
          <ac:grpSpMkLst>
            <pc:docMk/>
            <pc:sldMk cId="2107281506" sldId="4010"/>
            <ac:grpSpMk id="25" creationId="{38942B1C-E3AE-B0E9-A17F-DF9959D5E320}"/>
          </ac:grpSpMkLst>
        </pc:grpChg>
        <pc:grpChg chg="add mod">
          <ac:chgData name="Yaroslav Zhydyk" userId="feca11449df7c5ed" providerId="LiveId" clId="{DEB4F5E9-665E-474A-A1DA-C825ECC08A2E}" dt="2022-11-12T16:45:09.214" v="598" actId="1076"/>
          <ac:grpSpMkLst>
            <pc:docMk/>
            <pc:sldMk cId="2107281506" sldId="4010"/>
            <ac:grpSpMk id="28" creationId="{72D10D61-EAF0-4693-CE52-370E32E8F85B}"/>
          </ac:grpSpMkLst>
        </pc:grpChg>
        <pc:grpChg chg="add mod">
          <ac:chgData name="Yaroslav Zhydyk" userId="feca11449df7c5ed" providerId="LiveId" clId="{DEB4F5E9-665E-474A-A1DA-C825ECC08A2E}" dt="2022-11-12T16:45:09.214" v="598" actId="1076"/>
          <ac:grpSpMkLst>
            <pc:docMk/>
            <pc:sldMk cId="2107281506" sldId="4010"/>
            <ac:grpSpMk id="32" creationId="{EB506822-3645-8718-2E94-77E582D5A0AB}"/>
          </ac:grpSpMkLst>
        </pc:grpChg>
        <pc:grpChg chg="add mod">
          <ac:chgData name="Yaroslav Zhydyk" userId="feca11449df7c5ed" providerId="LiveId" clId="{DEB4F5E9-665E-474A-A1DA-C825ECC08A2E}" dt="2022-11-12T16:45:09.214" v="598" actId="1076"/>
          <ac:grpSpMkLst>
            <pc:docMk/>
            <pc:sldMk cId="2107281506" sldId="4010"/>
            <ac:grpSpMk id="35" creationId="{889F5E40-1601-9D4F-24A1-C356CBD98C6D}"/>
          </ac:grpSpMkLst>
        </pc:grpChg>
        <pc:grpChg chg="del mod topLvl">
          <ac:chgData name="Yaroslav Zhydyk" userId="feca11449df7c5ed" providerId="LiveId" clId="{DEB4F5E9-665E-474A-A1DA-C825ECC08A2E}" dt="2022-11-12T16:44:40.415" v="595" actId="478"/>
          <ac:grpSpMkLst>
            <pc:docMk/>
            <pc:sldMk cId="2107281506" sldId="4010"/>
            <ac:grpSpMk id="44" creationId="{C6B17E79-9F47-EF15-AF2C-6A127640B81A}"/>
          </ac:grpSpMkLst>
        </pc:grpChg>
        <pc:grpChg chg="del">
          <ac:chgData name="Yaroslav Zhydyk" userId="feca11449df7c5ed" providerId="LiveId" clId="{DEB4F5E9-665E-474A-A1DA-C825ECC08A2E}" dt="2022-11-12T16:44:38.472" v="594" actId="165"/>
          <ac:grpSpMkLst>
            <pc:docMk/>
            <pc:sldMk cId="2107281506" sldId="4010"/>
            <ac:grpSpMk id="45" creationId="{677693A0-D4A8-A9CF-66D0-410EED09B116}"/>
          </ac:grpSpMkLst>
        </pc:grpChg>
        <pc:grpChg chg="add mod">
          <ac:chgData name="Yaroslav Zhydyk" userId="feca11449df7c5ed" providerId="LiveId" clId="{DEB4F5E9-665E-474A-A1DA-C825ECC08A2E}" dt="2022-11-12T16:45:09.214" v="598" actId="1076"/>
          <ac:grpSpMkLst>
            <pc:docMk/>
            <pc:sldMk cId="2107281506" sldId="4010"/>
            <ac:grpSpMk id="46" creationId="{81A2FCB7-2DEB-34BA-D54A-843977068C9C}"/>
          </ac:grpSpMkLst>
        </pc:grpChg>
        <pc:grpChg chg="add mod">
          <ac:chgData name="Yaroslav Zhydyk" userId="feca11449df7c5ed" providerId="LiveId" clId="{DEB4F5E9-665E-474A-A1DA-C825ECC08A2E}" dt="2022-11-12T16:45:09.214" v="598" actId="1076"/>
          <ac:grpSpMkLst>
            <pc:docMk/>
            <pc:sldMk cId="2107281506" sldId="4010"/>
            <ac:grpSpMk id="49" creationId="{9488DC66-30C1-C57E-5F1A-8DB00FA8A8C6}"/>
          </ac:grpSpMkLst>
        </pc:grpChg>
      </pc:sldChg>
      <pc:sldChg chg="addSp delSp modSp add mod">
        <pc:chgData name="Yaroslav Zhydyk" userId="feca11449df7c5ed" providerId="LiveId" clId="{DEB4F5E9-665E-474A-A1DA-C825ECC08A2E}" dt="2022-11-12T16:46:48.794" v="617" actId="14100"/>
        <pc:sldMkLst>
          <pc:docMk/>
          <pc:sldMk cId="1948839985" sldId="4011"/>
        </pc:sldMkLst>
        <pc:spChg chg="mod">
          <ac:chgData name="Yaroslav Zhydyk" userId="feca11449df7c5ed" providerId="LiveId" clId="{DEB4F5E9-665E-474A-A1DA-C825ECC08A2E}" dt="2022-11-12T16:46:21.586" v="613" actId="207"/>
          <ac:spMkLst>
            <pc:docMk/>
            <pc:sldMk cId="1948839985" sldId="4011"/>
            <ac:spMk id="2" creationId="{CF2BB424-F0DA-61D3-FABA-A7B73AAE46CF}"/>
          </ac:spMkLst>
        </pc:spChg>
        <pc:spChg chg="add mod">
          <ac:chgData name="Yaroslav Zhydyk" userId="feca11449df7c5ed" providerId="LiveId" clId="{DEB4F5E9-665E-474A-A1DA-C825ECC08A2E}" dt="2022-11-12T16:46:42.474" v="616" actId="1076"/>
          <ac:spMkLst>
            <pc:docMk/>
            <pc:sldMk cId="1948839985" sldId="4011"/>
            <ac:spMk id="3" creationId="{F3C6123F-4964-DA33-14DB-642B103798D5}"/>
          </ac:spMkLst>
        </pc:spChg>
        <pc:spChg chg="del">
          <ac:chgData name="Yaroslav Zhydyk" userId="feca11449df7c5ed" providerId="LiveId" clId="{DEB4F5E9-665E-474A-A1DA-C825ECC08A2E}" dt="2022-11-12T16:46:23.798" v="614" actId="478"/>
          <ac:spMkLst>
            <pc:docMk/>
            <pc:sldMk cId="1948839985" sldId="4011"/>
            <ac:spMk id="4" creationId="{75049A83-B8FD-80A2-6C83-3104E1E3020F}"/>
          </ac:spMkLst>
        </pc:spChg>
        <pc:spChg chg="add mod">
          <ac:chgData name="Yaroslav Zhydyk" userId="feca11449df7c5ed" providerId="LiveId" clId="{DEB4F5E9-665E-474A-A1DA-C825ECC08A2E}" dt="2022-11-12T16:46:42.474" v="616" actId="1076"/>
          <ac:spMkLst>
            <pc:docMk/>
            <pc:sldMk cId="1948839985" sldId="4011"/>
            <ac:spMk id="5" creationId="{D8348C4D-A4DA-21AD-B208-4507B46472C1}"/>
          </ac:spMkLst>
        </pc:spChg>
        <pc:spChg chg="add mod">
          <ac:chgData name="Yaroslav Zhydyk" userId="feca11449df7c5ed" providerId="LiveId" clId="{DEB4F5E9-665E-474A-A1DA-C825ECC08A2E}" dt="2022-11-12T16:46:42.474" v="616" actId="1076"/>
          <ac:spMkLst>
            <pc:docMk/>
            <pc:sldMk cId="1948839985" sldId="4011"/>
            <ac:spMk id="6" creationId="{2846EF11-AFE3-782E-9073-D3A1C508712B}"/>
          </ac:spMkLst>
        </pc:spChg>
        <pc:spChg chg="add mod">
          <ac:chgData name="Yaroslav Zhydyk" userId="feca11449df7c5ed" providerId="LiveId" clId="{DEB4F5E9-665E-474A-A1DA-C825ECC08A2E}" dt="2022-11-12T16:46:42.474" v="616" actId="1076"/>
          <ac:spMkLst>
            <pc:docMk/>
            <pc:sldMk cId="1948839985" sldId="4011"/>
            <ac:spMk id="7" creationId="{0F1D5CE1-BD27-41AB-DE33-96BAC026DCC3}"/>
          </ac:spMkLst>
        </pc:spChg>
        <pc:spChg chg="add mod">
          <ac:chgData name="Yaroslav Zhydyk" userId="feca11449df7c5ed" providerId="LiveId" clId="{DEB4F5E9-665E-474A-A1DA-C825ECC08A2E}" dt="2022-11-12T16:46:42.474" v="616" actId="1076"/>
          <ac:spMkLst>
            <pc:docMk/>
            <pc:sldMk cId="1948839985" sldId="4011"/>
            <ac:spMk id="8" creationId="{53E90AB3-84B5-F6FD-D245-D1FD4C348CC5}"/>
          </ac:spMkLst>
        </pc:spChg>
        <pc:spChg chg="add mod">
          <ac:chgData name="Yaroslav Zhydyk" userId="feca11449df7c5ed" providerId="LiveId" clId="{DEB4F5E9-665E-474A-A1DA-C825ECC08A2E}" dt="2022-11-12T16:46:42.474" v="616" actId="1076"/>
          <ac:spMkLst>
            <pc:docMk/>
            <pc:sldMk cId="1948839985" sldId="4011"/>
            <ac:spMk id="9" creationId="{F33D774A-A07A-E93D-8BC1-4BD4F4DE190A}"/>
          </ac:spMkLst>
        </pc:spChg>
        <pc:spChg chg="add mod">
          <ac:chgData name="Yaroslav Zhydyk" userId="feca11449df7c5ed" providerId="LiveId" clId="{DEB4F5E9-665E-474A-A1DA-C825ECC08A2E}" dt="2022-11-12T16:46:42.474" v="616" actId="1076"/>
          <ac:spMkLst>
            <pc:docMk/>
            <pc:sldMk cId="1948839985" sldId="4011"/>
            <ac:spMk id="10" creationId="{2FEF6E28-1A06-BF2D-F396-ABDAD6EA87EB}"/>
          </ac:spMkLst>
        </pc:spChg>
        <pc:spChg chg="del">
          <ac:chgData name="Yaroslav Zhydyk" userId="feca11449df7c5ed" providerId="LiveId" clId="{DEB4F5E9-665E-474A-A1DA-C825ECC08A2E}" dt="2022-11-12T16:46:23.798" v="614" actId="478"/>
          <ac:spMkLst>
            <pc:docMk/>
            <pc:sldMk cId="1948839985" sldId="4011"/>
            <ac:spMk id="12" creationId="{3462E3F2-3BBA-53D9-3A13-B61E08E91785}"/>
          </ac:spMkLst>
        </pc:spChg>
        <pc:spChg chg="add mod">
          <ac:chgData name="Yaroslav Zhydyk" userId="feca11449df7c5ed" providerId="LiveId" clId="{DEB4F5E9-665E-474A-A1DA-C825ECC08A2E}" dt="2022-11-12T16:46:48.794" v="617" actId="14100"/>
          <ac:spMkLst>
            <pc:docMk/>
            <pc:sldMk cId="1948839985" sldId="4011"/>
            <ac:spMk id="14" creationId="{C57126D8-E2BF-7AAB-3EED-C51D1211AC48}"/>
          </ac:spMkLst>
        </pc:spChg>
        <pc:spChg chg="add mod">
          <ac:chgData name="Yaroslav Zhydyk" userId="feca11449df7c5ed" providerId="LiveId" clId="{DEB4F5E9-665E-474A-A1DA-C825ECC08A2E}" dt="2022-11-12T16:46:42.474" v="616" actId="1076"/>
          <ac:spMkLst>
            <pc:docMk/>
            <pc:sldMk cId="1948839985" sldId="4011"/>
            <ac:spMk id="39" creationId="{DA0C7D47-2D2E-9E67-F006-698B8ED1DDB4}"/>
          </ac:spMkLst>
        </pc:spChg>
        <pc:spChg chg="add mod">
          <ac:chgData name="Yaroslav Zhydyk" userId="feca11449df7c5ed" providerId="LiveId" clId="{DEB4F5E9-665E-474A-A1DA-C825ECC08A2E}" dt="2022-11-12T16:46:42.474" v="616" actId="1076"/>
          <ac:spMkLst>
            <pc:docMk/>
            <pc:sldMk cId="1948839985" sldId="4011"/>
            <ac:spMk id="40" creationId="{AB753310-6A01-5F51-91EC-FA7F1BF0715A}"/>
          </ac:spMkLst>
        </pc:spChg>
        <pc:spChg chg="add mod">
          <ac:chgData name="Yaroslav Zhydyk" userId="feca11449df7c5ed" providerId="LiveId" clId="{DEB4F5E9-665E-474A-A1DA-C825ECC08A2E}" dt="2022-11-12T16:46:42.474" v="616" actId="1076"/>
          <ac:spMkLst>
            <pc:docMk/>
            <pc:sldMk cId="1948839985" sldId="4011"/>
            <ac:spMk id="41" creationId="{4F8BD1F4-1EE6-FED4-EFF6-2E8CD5FE47D2}"/>
          </ac:spMkLst>
        </pc:spChg>
        <pc:grpChg chg="del">
          <ac:chgData name="Yaroslav Zhydyk" userId="feca11449df7c5ed" providerId="LiveId" clId="{DEB4F5E9-665E-474A-A1DA-C825ECC08A2E}" dt="2022-11-12T16:46:23.798" v="614" actId="478"/>
          <ac:grpSpMkLst>
            <pc:docMk/>
            <pc:sldMk cId="1948839985" sldId="4011"/>
            <ac:grpSpMk id="11" creationId="{EADDE2F0-9B65-D4B5-0AE7-302880896535}"/>
          </ac:grpSpMkLst>
        </pc:grpChg>
        <pc:grpChg chg="del">
          <ac:chgData name="Yaroslav Zhydyk" userId="feca11449df7c5ed" providerId="LiveId" clId="{DEB4F5E9-665E-474A-A1DA-C825ECC08A2E}" dt="2022-11-12T16:46:23.798" v="614" actId="478"/>
          <ac:grpSpMkLst>
            <pc:docMk/>
            <pc:sldMk cId="1948839985" sldId="4011"/>
            <ac:grpSpMk id="16" creationId="{25F9BC16-538B-464F-1729-D06EE20189A3}"/>
          </ac:grpSpMkLst>
        </pc:grpChg>
        <pc:grpChg chg="del">
          <ac:chgData name="Yaroslav Zhydyk" userId="feca11449df7c5ed" providerId="LiveId" clId="{DEB4F5E9-665E-474A-A1DA-C825ECC08A2E}" dt="2022-11-12T16:46:23.798" v="614" actId="478"/>
          <ac:grpSpMkLst>
            <pc:docMk/>
            <pc:sldMk cId="1948839985" sldId="4011"/>
            <ac:grpSpMk id="19" creationId="{85CFCBDA-DB1E-20AC-DE08-8407BF94F06C}"/>
          </ac:grpSpMkLst>
        </pc:grpChg>
        <pc:grpChg chg="del">
          <ac:chgData name="Yaroslav Zhydyk" userId="feca11449df7c5ed" providerId="LiveId" clId="{DEB4F5E9-665E-474A-A1DA-C825ECC08A2E}" dt="2022-11-12T16:46:23.798" v="614" actId="478"/>
          <ac:grpSpMkLst>
            <pc:docMk/>
            <pc:sldMk cId="1948839985" sldId="4011"/>
            <ac:grpSpMk id="22" creationId="{8A8AE60D-5BD8-CA9A-3E64-448985AF594B}"/>
          </ac:grpSpMkLst>
        </pc:grpChg>
        <pc:grpChg chg="del">
          <ac:chgData name="Yaroslav Zhydyk" userId="feca11449df7c5ed" providerId="LiveId" clId="{DEB4F5E9-665E-474A-A1DA-C825ECC08A2E}" dt="2022-11-12T16:46:23.798" v="614" actId="478"/>
          <ac:grpSpMkLst>
            <pc:docMk/>
            <pc:sldMk cId="1948839985" sldId="4011"/>
            <ac:grpSpMk id="25" creationId="{38942B1C-E3AE-B0E9-A17F-DF9959D5E320}"/>
          </ac:grpSpMkLst>
        </pc:grpChg>
        <pc:grpChg chg="del">
          <ac:chgData name="Yaroslav Zhydyk" userId="feca11449df7c5ed" providerId="LiveId" clId="{DEB4F5E9-665E-474A-A1DA-C825ECC08A2E}" dt="2022-11-12T16:46:23.798" v="614" actId="478"/>
          <ac:grpSpMkLst>
            <pc:docMk/>
            <pc:sldMk cId="1948839985" sldId="4011"/>
            <ac:grpSpMk id="28" creationId="{72D10D61-EAF0-4693-CE52-370E32E8F85B}"/>
          </ac:grpSpMkLst>
        </pc:grpChg>
        <pc:grpChg chg="del">
          <ac:chgData name="Yaroslav Zhydyk" userId="feca11449df7c5ed" providerId="LiveId" clId="{DEB4F5E9-665E-474A-A1DA-C825ECC08A2E}" dt="2022-11-12T16:46:23.798" v="614" actId="478"/>
          <ac:grpSpMkLst>
            <pc:docMk/>
            <pc:sldMk cId="1948839985" sldId="4011"/>
            <ac:grpSpMk id="32" creationId="{EB506822-3645-8718-2E94-77E582D5A0AB}"/>
          </ac:grpSpMkLst>
        </pc:grpChg>
        <pc:grpChg chg="del">
          <ac:chgData name="Yaroslav Zhydyk" userId="feca11449df7c5ed" providerId="LiveId" clId="{DEB4F5E9-665E-474A-A1DA-C825ECC08A2E}" dt="2022-11-12T16:46:23.798" v="614" actId="478"/>
          <ac:grpSpMkLst>
            <pc:docMk/>
            <pc:sldMk cId="1948839985" sldId="4011"/>
            <ac:grpSpMk id="35" creationId="{889F5E40-1601-9D4F-24A1-C356CBD98C6D}"/>
          </ac:grpSpMkLst>
        </pc:grpChg>
        <pc:grpChg chg="del">
          <ac:chgData name="Yaroslav Zhydyk" userId="feca11449df7c5ed" providerId="LiveId" clId="{DEB4F5E9-665E-474A-A1DA-C825ECC08A2E}" dt="2022-11-12T16:46:23.798" v="614" actId="478"/>
          <ac:grpSpMkLst>
            <pc:docMk/>
            <pc:sldMk cId="1948839985" sldId="4011"/>
            <ac:grpSpMk id="46" creationId="{81A2FCB7-2DEB-34BA-D54A-843977068C9C}"/>
          </ac:grpSpMkLst>
        </pc:grpChg>
        <pc:grpChg chg="del">
          <ac:chgData name="Yaroslav Zhydyk" userId="feca11449df7c5ed" providerId="LiveId" clId="{DEB4F5E9-665E-474A-A1DA-C825ECC08A2E}" dt="2022-11-12T16:46:23.798" v="614" actId="478"/>
          <ac:grpSpMkLst>
            <pc:docMk/>
            <pc:sldMk cId="1948839985" sldId="4011"/>
            <ac:grpSpMk id="49" creationId="{9488DC66-30C1-C57E-5F1A-8DB00FA8A8C6}"/>
          </ac:grpSpMkLst>
        </pc:grpChg>
      </pc:sldChg>
      <pc:sldChg chg="addSp delSp modSp new add mod">
        <pc:chgData name="Yaroslav Zhydyk" userId="feca11449df7c5ed" providerId="LiveId" clId="{DEB4F5E9-665E-474A-A1DA-C825ECC08A2E}" dt="2022-11-12T16:47:48.255" v="641" actId="12789"/>
        <pc:sldMkLst>
          <pc:docMk/>
          <pc:sldMk cId="55873843" sldId="4012"/>
        </pc:sldMkLst>
        <pc:spChg chg="del">
          <ac:chgData name="Yaroslav Zhydyk" userId="feca11449df7c5ed" providerId="LiveId" clId="{DEB4F5E9-665E-474A-A1DA-C825ECC08A2E}" dt="2022-11-12T16:47:02.983" v="621" actId="478"/>
          <ac:spMkLst>
            <pc:docMk/>
            <pc:sldMk cId="55873843" sldId="4012"/>
            <ac:spMk id="2" creationId="{554470AC-C5BA-2E81-B2A3-902033604186}"/>
          </ac:spMkLst>
        </pc:spChg>
        <pc:picChg chg="add mod">
          <ac:chgData name="Yaroslav Zhydyk" userId="feca11449df7c5ed" providerId="LiveId" clId="{DEB4F5E9-665E-474A-A1DA-C825ECC08A2E}" dt="2022-11-12T16:47:48.255" v="641" actId="12789"/>
          <ac:picMkLst>
            <pc:docMk/>
            <pc:sldMk cId="55873843" sldId="4012"/>
            <ac:picMk id="3" creationId="{40B98E5B-1BF6-9198-D49B-27B0EBFD02D3}"/>
          </ac:picMkLst>
        </pc:picChg>
        <pc:picChg chg="add mod">
          <ac:chgData name="Yaroslav Zhydyk" userId="feca11449df7c5ed" providerId="LiveId" clId="{DEB4F5E9-665E-474A-A1DA-C825ECC08A2E}" dt="2022-11-12T16:47:33.609" v="634" actId="1076"/>
          <ac:picMkLst>
            <pc:docMk/>
            <pc:sldMk cId="55873843" sldId="4012"/>
            <ac:picMk id="4" creationId="{ACB8B56E-CB21-75A8-8C02-89829973CCC6}"/>
          </ac:picMkLst>
        </pc:picChg>
      </pc:sldChg>
      <pc:sldChg chg="addSp delSp modSp add mod">
        <pc:chgData name="Yaroslav Zhydyk" userId="feca11449df7c5ed" providerId="LiveId" clId="{DEB4F5E9-665E-474A-A1DA-C825ECC08A2E}" dt="2022-11-12T16:48:30.174" v="654" actId="1076"/>
        <pc:sldMkLst>
          <pc:docMk/>
          <pc:sldMk cId="707355526" sldId="4013"/>
        </pc:sldMkLst>
        <pc:picChg chg="add mod">
          <ac:chgData name="Yaroslav Zhydyk" userId="feca11449df7c5ed" providerId="LiveId" clId="{DEB4F5E9-665E-474A-A1DA-C825ECC08A2E}" dt="2022-11-12T16:48:02.355" v="646" actId="12789"/>
          <ac:picMkLst>
            <pc:docMk/>
            <pc:sldMk cId="707355526" sldId="4013"/>
            <ac:picMk id="2" creationId="{DA6DBCC2-262F-0F58-EAC0-536ABA46395D}"/>
          </ac:picMkLst>
        </pc:picChg>
        <pc:picChg chg="del mod">
          <ac:chgData name="Yaroslav Zhydyk" userId="feca11449df7c5ed" providerId="LiveId" clId="{DEB4F5E9-665E-474A-A1DA-C825ECC08A2E}" dt="2022-11-12T16:48:00.245" v="645" actId="478"/>
          <ac:picMkLst>
            <pc:docMk/>
            <pc:sldMk cId="707355526" sldId="4013"/>
            <ac:picMk id="3" creationId="{40B98E5B-1BF6-9198-D49B-27B0EBFD02D3}"/>
          </ac:picMkLst>
        </pc:picChg>
        <pc:picChg chg="del mod">
          <ac:chgData name="Yaroslav Zhydyk" userId="feca11449df7c5ed" providerId="LiveId" clId="{DEB4F5E9-665E-474A-A1DA-C825ECC08A2E}" dt="2022-11-12T16:48:14.395" v="652" actId="478"/>
          <ac:picMkLst>
            <pc:docMk/>
            <pc:sldMk cId="707355526" sldId="4013"/>
            <ac:picMk id="4" creationId="{ACB8B56E-CB21-75A8-8C02-89829973CCC6}"/>
          </ac:picMkLst>
        </pc:picChg>
        <pc:picChg chg="add mod">
          <ac:chgData name="Yaroslav Zhydyk" userId="feca11449df7c5ed" providerId="LiveId" clId="{DEB4F5E9-665E-474A-A1DA-C825ECC08A2E}" dt="2022-11-12T16:48:30.174" v="654" actId="1076"/>
          <ac:picMkLst>
            <pc:docMk/>
            <pc:sldMk cId="707355526" sldId="4013"/>
            <ac:picMk id="5" creationId="{893623AE-2885-90AD-A990-EA5C339A6357}"/>
          </ac:picMkLst>
        </pc:picChg>
      </pc:sldChg>
      <pc:sldChg chg="addSp delSp modSp add mod">
        <pc:chgData name="Yaroslav Zhydyk" userId="feca11449df7c5ed" providerId="LiveId" clId="{DEB4F5E9-665E-474A-A1DA-C825ECC08A2E}" dt="2022-11-12T16:51:13.445" v="721" actId="571"/>
        <pc:sldMkLst>
          <pc:docMk/>
          <pc:sldMk cId="1958306032" sldId="4014"/>
        </pc:sldMkLst>
        <pc:spChg chg="mod">
          <ac:chgData name="Yaroslav Zhydyk" userId="feca11449df7c5ed" providerId="LiveId" clId="{DEB4F5E9-665E-474A-A1DA-C825ECC08A2E}" dt="2022-11-12T16:50:11.637" v="683" actId="20577"/>
          <ac:spMkLst>
            <pc:docMk/>
            <pc:sldMk cId="1958306032" sldId="4014"/>
            <ac:spMk id="2" creationId="{B98A5077-16B2-5216-7BF4-892A3FC6E796}"/>
          </ac:spMkLst>
        </pc:spChg>
        <pc:spChg chg="mod">
          <ac:chgData name="Yaroslav Zhydyk" userId="feca11449df7c5ed" providerId="LiveId" clId="{DEB4F5E9-665E-474A-A1DA-C825ECC08A2E}" dt="2022-11-12T16:51:00.261" v="717" actId="207"/>
          <ac:spMkLst>
            <pc:docMk/>
            <pc:sldMk cId="1958306032" sldId="4014"/>
            <ac:spMk id="14" creationId="{A14FE9C0-B3BB-4470-824A-5C18DF861D38}"/>
          </ac:spMkLst>
        </pc:spChg>
        <pc:picChg chg="del">
          <ac:chgData name="Yaroslav Zhydyk" userId="feca11449df7c5ed" providerId="LiveId" clId="{DEB4F5E9-665E-474A-A1DA-C825ECC08A2E}" dt="2022-11-12T16:49:58.882" v="657" actId="478"/>
          <ac:picMkLst>
            <pc:docMk/>
            <pc:sldMk cId="1958306032" sldId="4014"/>
            <ac:picMk id="3" creationId="{30E040F5-CDEE-7CFE-AFD9-CAE29B26B014}"/>
          </ac:picMkLst>
        </pc:picChg>
        <pc:picChg chg="add mod">
          <ac:chgData name="Yaroslav Zhydyk" userId="feca11449df7c5ed" providerId="LiveId" clId="{DEB4F5E9-665E-474A-A1DA-C825ECC08A2E}" dt="2022-11-12T16:51:08.850" v="719" actId="1076"/>
          <ac:picMkLst>
            <pc:docMk/>
            <pc:sldMk cId="1958306032" sldId="4014"/>
            <ac:picMk id="5" creationId="{252471BC-D417-5ADD-7B0D-57BA085682D3}"/>
          </ac:picMkLst>
        </pc:picChg>
        <pc:picChg chg="add mod">
          <ac:chgData name="Yaroslav Zhydyk" userId="feca11449df7c5ed" providerId="LiveId" clId="{DEB4F5E9-665E-474A-A1DA-C825ECC08A2E}" dt="2022-11-12T16:51:12.089" v="720" actId="571"/>
          <ac:picMkLst>
            <pc:docMk/>
            <pc:sldMk cId="1958306032" sldId="4014"/>
            <ac:picMk id="7" creationId="{B6E65FAF-3061-A58B-C2D6-0059E5B80D36}"/>
          </ac:picMkLst>
        </pc:picChg>
        <pc:picChg chg="add mod">
          <ac:chgData name="Yaroslav Zhydyk" userId="feca11449df7c5ed" providerId="LiveId" clId="{DEB4F5E9-665E-474A-A1DA-C825ECC08A2E}" dt="2022-11-12T16:51:13.445" v="721" actId="571"/>
          <ac:picMkLst>
            <pc:docMk/>
            <pc:sldMk cId="1958306032" sldId="4014"/>
            <ac:picMk id="8" creationId="{FF40C706-AEDA-E0FA-6464-52EE76AED67C}"/>
          </ac:picMkLst>
        </pc:picChg>
      </pc:sldChg>
      <pc:sldChg chg="delSp modSp add mod">
        <pc:chgData name="Yaroslav Zhydyk" userId="feca11449df7c5ed" providerId="LiveId" clId="{DEB4F5E9-665E-474A-A1DA-C825ECC08A2E}" dt="2022-11-12T16:55:22.627" v="802" actId="403"/>
        <pc:sldMkLst>
          <pc:docMk/>
          <pc:sldMk cId="1337303021" sldId="4015"/>
        </pc:sldMkLst>
        <pc:spChg chg="mod">
          <ac:chgData name="Yaroslav Zhydyk" userId="feca11449df7c5ed" providerId="LiveId" clId="{DEB4F5E9-665E-474A-A1DA-C825ECC08A2E}" dt="2022-11-12T16:55:22.627" v="802" actId="403"/>
          <ac:spMkLst>
            <pc:docMk/>
            <pc:sldMk cId="1337303021" sldId="4015"/>
            <ac:spMk id="2" creationId="{B98A5077-16B2-5216-7BF4-892A3FC6E796}"/>
          </ac:spMkLst>
        </pc:spChg>
        <pc:picChg chg="del">
          <ac:chgData name="Yaroslav Zhydyk" userId="feca11449df7c5ed" providerId="LiveId" clId="{DEB4F5E9-665E-474A-A1DA-C825ECC08A2E}" dt="2022-11-12T16:54:46.169" v="777" actId="478"/>
          <ac:picMkLst>
            <pc:docMk/>
            <pc:sldMk cId="1337303021" sldId="4015"/>
            <ac:picMk id="3" creationId="{30E040F5-CDEE-7CFE-AFD9-CAE29B26B014}"/>
          </ac:picMkLst>
        </pc:picChg>
      </pc:sldChg>
      <pc:sldChg chg="add del">
        <pc:chgData name="Yaroslav Zhydyk" userId="feca11449df7c5ed" providerId="LiveId" clId="{DEB4F5E9-665E-474A-A1DA-C825ECC08A2E}" dt="2022-11-12T16:51:46.545" v="727" actId="2890"/>
        <pc:sldMkLst>
          <pc:docMk/>
          <pc:sldMk cId="2716897325" sldId="4015"/>
        </pc:sldMkLst>
      </pc:sldChg>
      <pc:sldChg chg="addSp modSp new add mod">
        <pc:chgData name="Yaroslav Zhydyk" userId="feca11449df7c5ed" providerId="LiveId" clId="{DEB4F5E9-665E-474A-A1DA-C825ECC08A2E}" dt="2022-11-12T16:53:21.215" v="754" actId="408"/>
        <pc:sldMkLst>
          <pc:docMk/>
          <pc:sldMk cId="245067932" sldId="4016"/>
        </pc:sldMkLst>
        <pc:spChg chg="mod">
          <ac:chgData name="Yaroslav Zhydyk" userId="feca11449df7c5ed" providerId="LiveId" clId="{DEB4F5E9-665E-474A-A1DA-C825ECC08A2E}" dt="2022-11-12T16:52:55.535" v="743" actId="6549"/>
          <ac:spMkLst>
            <pc:docMk/>
            <pc:sldMk cId="245067932" sldId="4016"/>
            <ac:spMk id="2" creationId="{3572C159-98CD-D304-145E-862C98FAE001}"/>
          </ac:spMkLst>
        </pc:spChg>
        <pc:spChg chg="add mod">
          <ac:chgData name="Yaroslav Zhydyk" userId="feca11449df7c5ed" providerId="LiveId" clId="{DEB4F5E9-665E-474A-A1DA-C825ECC08A2E}" dt="2022-11-12T16:53:08.658" v="747" actId="164"/>
          <ac:spMkLst>
            <pc:docMk/>
            <pc:sldMk cId="245067932" sldId="4016"/>
            <ac:spMk id="3" creationId="{CFB83E9B-8956-E374-16C3-806D998CCDD1}"/>
          </ac:spMkLst>
        </pc:spChg>
        <pc:spChg chg="add mod">
          <ac:chgData name="Yaroslav Zhydyk" userId="feca11449df7c5ed" providerId="LiveId" clId="{DEB4F5E9-665E-474A-A1DA-C825ECC08A2E}" dt="2022-11-12T16:53:12.874" v="749" actId="164"/>
          <ac:spMkLst>
            <pc:docMk/>
            <pc:sldMk cId="245067932" sldId="4016"/>
            <ac:spMk id="4" creationId="{935C4911-3322-6655-6EAF-E8E74704E899}"/>
          </ac:spMkLst>
        </pc:spChg>
        <pc:spChg chg="add mod">
          <ac:chgData name="Yaroslav Zhydyk" userId="feca11449df7c5ed" providerId="LiveId" clId="{DEB4F5E9-665E-474A-A1DA-C825ECC08A2E}" dt="2022-11-12T16:53:16.643" v="752" actId="164"/>
          <ac:spMkLst>
            <pc:docMk/>
            <pc:sldMk cId="245067932" sldId="4016"/>
            <ac:spMk id="5" creationId="{1A9BE100-F2A5-3EBF-8209-39A54036730D}"/>
          </ac:spMkLst>
        </pc:spChg>
        <pc:spChg chg="add mod">
          <ac:chgData name="Yaroslav Zhydyk" userId="feca11449df7c5ed" providerId="LiveId" clId="{DEB4F5E9-665E-474A-A1DA-C825ECC08A2E}" dt="2022-11-12T16:53:08.658" v="747" actId="164"/>
          <ac:spMkLst>
            <pc:docMk/>
            <pc:sldMk cId="245067932" sldId="4016"/>
            <ac:spMk id="6" creationId="{F36251A7-B5A1-7D2B-7AA0-2FBD041CD3C9}"/>
          </ac:spMkLst>
        </pc:spChg>
        <pc:spChg chg="add mod">
          <ac:chgData name="Yaroslav Zhydyk" userId="feca11449df7c5ed" providerId="LiveId" clId="{DEB4F5E9-665E-474A-A1DA-C825ECC08A2E}" dt="2022-11-12T16:53:12.874" v="749" actId="164"/>
          <ac:spMkLst>
            <pc:docMk/>
            <pc:sldMk cId="245067932" sldId="4016"/>
            <ac:spMk id="7" creationId="{B97C8A56-1DB6-CD83-B379-4A4C70A6C71B}"/>
          </ac:spMkLst>
        </pc:spChg>
        <pc:spChg chg="add mod">
          <ac:chgData name="Yaroslav Zhydyk" userId="feca11449df7c5ed" providerId="LiveId" clId="{DEB4F5E9-665E-474A-A1DA-C825ECC08A2E}" dt="2022-11-12T16:53:16.643" v="752" actId="164"/>
          <ac:spMkLst>
            <pc:docMk/>
            <pc:sldMk cId="245067932" sldId="4016"/>
            <ac:spMk id="8" creationId="{3337C2F8-3E6D-8EA5-0AB9-089785704CBC}"/>
          </ac:spMkLst>
        </pc:spChg>
        <pc:spChg chg="add mod">
          <ac:chgData name="Yaroslav Zhydyk" userId="feca11449df7c5ed" providerId="LiveId" clId="{DEB4F5E9-665E-474A-A1DA-C825ECC08A2E}" dt="2022-11-12T16:53:08.658" v="747" actId="164"/>
          <ac:spMkLst>
            <pc:docMk/>
            <pc:sldMk cId="245067932" sldId="4016"/>
            <ac:spMk id="9" creationId="{C374D388-545D-553F-83C8-65786D7D2665}"/>
          </ac:spMkLst>
        </pc:spChg>
        <pc:spChg chg="add mod">
          <ac:chgData name="Yaroslav Zhydyk" userId="feca11449df7c5ed" providerId="LiveId" clId="{DEB4F5E9-665E-474A-A1DA-C825ECC08A2E}" dt="2022-11-12T16:53:12.874" v="749" actId="164"/>
          <ac:spMkLst>
            <pc:docMk/>
            <pc:sldMk cId="245067932" sldId="4016"/>
            <ac:spMk id="10" creationId="{E299FAEE-67FD-1612-3D11-0A934FFB4FB6}"/>
          </ac:spMkLst>
        </pc:spChg>
        <pc:grpChg chg="add mod">
          <ac:chgData name="Yaroslav Zhydyk" userId="feca11449df7c5ed" providerId="LiveId" clId="{DEB4F5E9-665E-474A-A1DA-C825ECC08A2E}" dt="2022-11-12T16:53:10.418" v="748" actId="1076"/>
          <ac:grpSpMkLst>
            <pc:docMk/>
            <pc:sldMk cId="245067932" sldId="4016"/>
            <ac:grpSpMk id="11" creationId="{9968E725-0E47-2A71-F7EA-E0097FD54833}"/>
          </ac:grpSpMkLst>
        </pc:grpChg>
        <pc:grpChg chg="add mod">
          <ac:chgData name="Yaroslav Zhydyk" userId="feca11449df7c5ed" providerId="LiveId" clId="{DEB4F5E9-665E-474A-A1DA-C825ECC08A2E}" dt="2022-11-12T16:53:21.215" v="754" actId="408"/>
          <ac:grpSpMkLst>
            <pc:docMk/>
            <pc:sldMk cId="245067932" sldId="4016"/>
            <ac:grpSpMk id="12" creationId="{160883C3-AC78-83E3-47DA-06A13D88C51E}"/>
          </ac:grpSpMkLst>
        </pc:grpChg>
        <pc:grpChg chg="add mod">
          <ac:chgData name="Yaroslav Zhydyk" userId="feca11449df7c5ed" providerId="LiveId" clId="{DEB4F5E9-665E-474A-A1DA-C825ECC08A2E}" dt="2022-11-12T16:53:18.310" v="753" actId="1076"/>
          <ac:grpSpMkLst>
            <pc:docMk/>
            <pc:sldMk cId="245067932" sldId="4016"/>
            <ac:grpSpMk id="13" creationId="{006287E0-936E-EFC4-F7FA-4983F71D9286}"/>
          </ac:grpSpMkLst>
        </pc:grpChg>
      </pc:sldChg>
      <pc:sldChg chg="addSp delSp modSp new add mod">
        <pc:chgData name="Yaroslav Zhydyk" userId="feca11449df7c5ed" providerId="LiveId" clId="{DEB4F5E9-665E-474A-A1DA-C825ECC08A2E}" dt="2022-11-12T16:54:24.513" v="773" actId="554"/>
        <pc:sldMkLst>
          <pc:docMk/>
          <pc:sldMk cId="514381879" sldId="4017"/>
        </pc:sldMkLst>
        <pc:spChg chg="del">
          <ac:chgData name="Yaroslav Zhydyk" userId="feca11449df7c5ed" providerId="LiveId" clId="{DEB4F5E9-665E-474A-A1DA-C825ECC08A2E}" dt="2022-11-12T16:53:35.501" v="757" actId="478"/>
          <ac:spMkLst>
            <pc:docMk/>
            <pc:sldMk cId="514381879" sldId="4017"/>
            <ac:spMk id="2" creationId="{7BF93A1C-7B6F-81DD-B771-17789A32AF31}"/>
          </ac:spMkLst>
        </pc:spChg>
        <pc:picChg chg="add del mod">
          <ac:chgData name="Yaroslav Zhydyk" userId="feca11449df7c5ed" providerId="LiveId" clId="{DEB4F5E9-665E-474A-A1DA-C825ECC08A2E}" dt="2022-11-12T16:53:58.223" v="764" actId="478"/>
          <ac:picMkLst>
            <pc:docMk/>
            <pc:sldMk cId="514381879" sldId="4017"/>
            <ac:picMk id="3" creationId="{EF1DE7F7-32AF-708E-CA05-998AE2448283}"/>
          </ac:picMkLst>
        </pc:picChg>
        <pc:picChg chg="add mod">
          <ac:chgData name="Yaroslav Zhydyk" userId="feca11449df7c5ed" providerId="LiveId" clId="{DEB4F5E9-665E-474A-A1DA-C825ECC08A2E}" dt="2022-11-12T16:54:24.513" v="773" actId="554"/>
          <ac:picMkLst>
            <pc:docMk/>
            <pc:sldMk cId="514381879" sldId="4017"/>
            <ac:picMk id="4" creationId="{982CAB09-D011-0872-E727-93415580B3A3}"/>
          </ac:picMkLst>
        </pc:picChg>
        <pc:picChg chg="add del mod">
          <ac:chgData name="Yaroslav Zhydyk" userId="feca11449df7c5ed" providerId="LiveId" clId="{DEB4F5E9-665E-474A-A1DA-C825ECC08A2E}" dt="2022-11-12T16:54:21.813" v="772" actId="478"/>
          <ac:picMkLst>
            <pc:docMk/>
            <pc:sldMk cId="514381879" sldId="4017"/>
            <ac:picMk id="5" creationId="{1C189FD7-9DA4-B26A-B59C-A2B518673931}"/>
          </ac:picMkLst>
        </pc:picChg>
        <pc:picChg chg="add mod">
          <ac:chgData name="Yaroslav Zhydyk" userId="feca11449df7c5ed" providerId="LiveId" clId="{DEB4F5E9-665E-474A-A1DA-C825ECC08A2E}" dt="2022-11-12T16:54:24.513" v="773" actId="554"/>
          <ac:picMkLst>
            <pc:docMk/>
            <pc:sldMk cId="514381879" sldId="4017"/>
            <ac:picMk id="6" creationId="{D659EBD0-1064-D6C6-99B8-F7BA823EF7AE}"/>
          </ac:picMkLst>
        </pc:picChg>
      </pc:sldChg>
      <pc:sldChg chg="addSp delSp modSp add">
        <pc:chgData name="Yaroslav Zhydyk" userId="feca11449df7c5ed" providerId="LiveId" clId="{DEB4F5E9-665E-474A-A1DA-C825ECC08A2E}" dt="2022-11-12T16:54:36.416" v="776"/>
        <pc:sldMkLst>
          <pc:docMk/>
          <pc:sldMk cId="2089619398" sldId="4018"/>
        </pc:sldMkLst>
        <pc:picChg chg="add mod">
          <ac:chgData name="Yaroslav Zhydyk" userId="feca11449df7c5ed" providerId="LiveId" clId="{DEB4F5E9-665E-474A-A1DA-C825ECC08A2E}" dt="2022-11-12T16:54:36.416" v="776"/>
          <ac:picMkLst>
            <pc:docMk/>
            <pc:sldMk cId="2089619398" sldId="4018"/>
            <ac:picMk id="2" creationId="{05ED1AD5-2AB6-AFB4-3A89-92C1B9666423}"/>
          </ac:picMkLst>
        </pc:picChg>
        <pc:picChg chg="del">
          <ac:chgData name="Yaroslav Zhydyk" userId="feca11449df7c5ed" providerId="LiveId" clId="{DEB4F5E9-665E-474A-A1DA-C825ECC08A2E}" dt="2022-11-12T16:54:36.018" v="775" actId="478"/>
          <ac:picMkLst>
            <pc:docMk/>
            <pc:sldMk cId="2089619398" sldId="4018"/>
            <ac:picMk id="4" creationId="{982CAB09-D011-0872-E727-93415580B3A3}"/>
          </ac:picMkLst>
        </pc:picChg>
      </pc:sldChg>
      <pc:sldChg chg="addSp delSp modSp add mod ord">
        <pc:chgData name="Yaroslav Zhydyk" userId="feca11449df7c5ed" providerId="LiveId" clId="{DEB4F5E9-665E-474A-A1DA-C825ECC08A2E}" dt="2022-11-12T16:59:00.524" v="874" actId="207"/>
        <pc:sldMkLst>
          <pc:docMk/>
          <pc:sldMk cId="3652257828" sldId="4019"/>
        </pc:sldMkLst>
        <pc:spChg chg="mod">
          <ac:chgData name="Yaroslav Zhydyk" userId="feca11449df7c5ed" providerId="LiveId" clId="{DEB4F5E9-665E-474A-A1DA-C825ECC08A2E}" dt="2022-11-12T16:59:00.524" v="874" actId="207"/>
          <ac:spMkLst>
            <pc:docMk/>
            <pc:sldMk cId="3652257828" sldId="4019"/>
            <ac:spMk id="2" creationId="{3572C159-98CD-D304-145E-862C98FAE001}"/>
          </ac:spMkLst>
        </pc:spChg>
        <pc:spChg chg="add mod">
          <ac:chgData name="Yaroslav Zhydyk" userId="feca11449df7c5ed" providerId="LiveId" clId="{DEB4F5E9-665E-474A-A1DA-C825ECC08A2E}" dt="2022-11-12T16:57:46.351" v="856" actId="164"/>
          <ac:spMkLst>
            <pc:docMk/>
            <pc:sldMk cId="3652257828" sldId="4019"/>
            <ac:spMk id="14" creationId="{293C95D4-6932-075F-CDA6-F97BA86BF00A}"/>
          </ac:spMkLst>
        </pc:spChg>
        <pc:spChg chg="add mod">
          <ac:chgData name="Yaroslav Zhydyk" userId="feca11449df7c5ed" providerId="LiveId" clId="{DEB4F5E9-665E-474A-A1DA-C825ECC08A2E}" dt="2022-11-12T16:57:43.789" v="855" actId="164"/>
          <ac:spMkLst>
            <pc:docMk/>
            <pc:sldMk cId="3652257828" sldId="4019"/>
            <ac:spMk id="15" creationId="{C6E89678-4798-B8BF-37F9-684C1BB064C4}"/>
          </ac:spMkLst>
        </pc:spChg>
        <pc:spChg chg="add mod">
          <ac:chgData name="Yaroslav Zhydyk" userId="feca11449df7c5ed" providerId="LiveId" clId="{DEB4F5E9-665E-474A-A1DA-C825ECC08A2E}" dt="2022-11-12T16:57:41.390" v="854" actId="164"/>
          <ac:spMkLst>
            <pc:docMk/>
            <pc:sldMk cId="3652257828" sldId="4019"/>
            <ac:spMk id="16" creationId="{91B43DF3-0B86-DD19-E2BE-B48AAFD986AC}"/>
          </ac:spMkLst>
        </pc:spChg>
        <pc:spChg chg="add mod">
          <ac:chgData name="Yaroslav Zhydyk" userId="feca11449df7c5ed" providerId="LiveId" clId="{DEB4F5E9-665E-474A-A1DA-C825ECC08A2E}" dt="2022-11-12T16:57:07.115" v="840" actId="164"/>
          <ac:spMkLst>
            <pc:docMk/>
            <pc:sldMk cId="3652257828" sldId="4019"/>
            <ac:spMk id="17" creationId="{28AD2700-CDBA-01F5-68FC-CB66B34E4A6F}"/>
          </ac:spMkLst>
        </pc:spChg>
        <pc:spChg chg="add mod">
          <ac:chgData name="Yaroslav Zhydyk" userId="feca11449df7c5ed" providerId="LiveId" clId="{DEB4F5E9-665E-474A-A1DA-C825ECC08A2E}" dt="2022-11-12T16:57:12.615" v="843" actId="164"/>
          <ac:spMkLst>
            <pc:docMk/>
            <pc:sldMk cId="3652257828" sldId="4019"/>
            <ac:spMk id="18" creationId="{BFFE5730-6F89-0E0F-9F4C-C9F1873E97D1}"/>
          </ac:spMkLst>
        </pc:spChg>
        <pc:spChg chg="add mod">
          <ac:chgData name="Yaroslav Zhydyk" userId="feca11449df7c5ed" providerId="LiveId" clId="{DEB4F5E9-665E-474A-A1DA-C825ECC08A2E}" dt="2022-11-12T16:57:24.355" v="849" actId="207"/>
          <ac:spMkLst>
            <pc:docMk/>
            <pc:sldMk cId="3652257828" sldId="4019"/>
            <ac:spMk id="19" creationId="{25E23C4F-9116-865C-86F4-5C048D81999E}"/>
          </ac:spMkLst>
        </pc:spChg>
        <pc:grpChg chg="del">
          <ac:chgData name="Yaroslav Zhydyk" userId="feca11449df7c5ed" providerId="LiveId" clId="{DEB4F5E9-665E-474A-A1DA-C825ECC08A2E}" dt="2022-11-12T16:56:11.851" v="821" actId="478"/>
          <ac:grpSpMkLst>
            <pc:docMk/>
            <pc:sldMk cId="3652257828" sldId="4019"/>
            <ac:grpSpMk id="11" creationId="{9968E725-0E47-2A71-F7EA-E0097FD54833}"/>
          </ac:grpSpMkLst>
        </pc:grpChg>
        <pc:grpChg chg="del">
          <ac:chgData name="Yaroslav Zhydyk" userId="feca11449df7c5ed" providerId="LiveId" clId="{DEB4F5E9-665E-474A-A1DA-C825ECC08A2E}" dt="2022-11-12T16:56:11.851" v="821" actId="478"/>
          <ac:grpSpMkLst>
            <pc:docMk/>
            <pc:sldMk cId="3652257828" sldId="4019"/>
            <ac:grpSpMk id="12" creationId="{160883C3-AC78-83E3-47DA-06A13D88C51E}"/>
          </ac:grpSpMkLst>
        </pc:grpChg>
        <pc:grpChg chg="del">
          <ac:chgData name="Yaroslav Zhydyk" userId="feca11449df7c5ed" providerId="LiveId" clId="{DEB4F5E9-665E-474A-A1DA-C825ECC08A2E}" dt="2022-11-12T16:56:11.851" v="821" actId="478"/>
          <ac:grpSpMkLst>
            <pc:docMk/>
            <pc:sldMk cId="3652257828" sldId="4019"/>
            <ac:grpSpMk id="13" creationId="{006287E0-936E-EFC4-F7FA-4983F71D9286}"/>
          </ac:grpSpMkLst>
        </pc:grpChg>
        <pc:grpChg chg="add mod">
          <ac:chgData name="Yaroslav Zhydyk" userId="feca11449df7c5ed" providerId="LiveId" clId="{DEB4F5E9-665E-474A-A1DA-C825ECC08A2E}" dt="2022-11-12T16:57:46.351" v="856" actId="164"/>
          <ac:grpSpMkLst>
            <pc:docMk/>
            <pc:sldMk cId="3652257828" sldId="4019"/>
            <ac:grpSpMk id="23" creationId="{3B0714FF-A12F-5FA6-9B44-3E8FABC8703B}"/>
          </ac:grpSpMkLst>
        </pc:grpChg>
        <pc:grpChg chg="add mod">
          <ac:chgData name="Yaroslav Zhydyk" userId="feca11449df7c5ed" providerId="LiveId" clId="{DEB4F5E9-665E-474A-A1DA-C825ECC08A2E}" dt="2022-11-12T16:57:43.789" v="855" actId="164"/>
          <ac:grpSpMkLst>
            <pc:docMk/>
            <pc:sldMk cId="3652257828" sldId="4019"/>
            <ac:grpSpMk id="24" creationId="{0194C38F-556C-704E-0443-E8267BEE9426}"/>
          </ac:grpSpMkLst>
        </pc:grpChg>
        <pc:grpChg chg="add mod">
          <ac:chgData name="Yaroslav Zhydyk" userId="feca11449df7c5ed" providerId="LiveId" clId="{DEB4F5E9-665E-474A-A1DA-C825ECC08A2E}" dt="2022-11-12T16:57:41.390" v="854" actId="164"/>
          <ac:grpSpMkLst>
            <pc:docMk/>
            <pc:sldMk cId="3652257828" sldId="4019"/>
            <ac:grpSpMk id="25" creationId="{FBEBE1F7-245C-B2FB-4FD5-DFCEB2379CDE}"/>
          </ac:grpSpMkLst>
        </pc:grpChg>
        <pc:grpChg chg="add mod">
          <ac:chgData name="Yaroslav Zhydyk" userId="feca11449df7c5ed" providerId="LiveId" clId="{DEB4F5E9-665E-474A-A1DA-C825ECC08A2E}" dt="2022-11-12T16:58:02.002" v="861" actId="555"/>
          <ac:grpSpMkLst>
            <pc:docMk/>
            <pc:sldMk cId="3652257828" sldId="4019"/>
            <ac:grpSpMk id="26" creationId="{A18C7F31-5864-CD68-F42E-077AD43F912C}"/>
          </ac:grpSpMkLst>
        </pc:grpChg>
        <pc:grpChg chg="add mod">
          <ac:chgData name="Yaroslav Zhydyk" userId="feca11449df7c5ed" providerId="LiveId" clId="{DEB4F5E9-665E-474A-A1DA-C825ECC08A2E}" dt="2022-11-12T16:58:33.013" v="869" actId="408"/>
          <ac:grpSpMkLst>
            <pc:docMk/>
            <pc:sldMk cId="3652257828" sldId="4019"/>
            <ac:grpSpMk id="27" creationId="{7F8DFCB7-0861-164D-E404-F1B08ED68C1C}"/>
          </ac:grpSpMkLst>
        </pc:grpChg>
        <pc:grpChg chg="add mod">
          <ac:chgData name="Yaroslav Zhydyk" userId="feca11449df7c5ed" providerId="LiveId" clId="{DEB4F5E9-665E-474A-A1DA-C825ECC08A2E}" dt="2022-11-12T16:58:05.498" v="862" actId="1076"/>
          <ac:grpSpMkLst>
            <pc:docMk/>
            <pc:sldMk cId="3652257828" sldId="4019"/>
            <ac:grpSpMk id="28" creationId="{82243855-ED32-DA55-04ED-453D651E5593}"/>
          </ac:grpSpMkLst>
        </pc:grpChg>
        <pc:picChg chg="add mod">
          <ac:chgData name="Yaroslav Zhydyk" userId="feca11449df7c5ed" providerId="LiveId" clId="{DEB4F5E9-665E-474A-A1DA-C825ECC08A2E}" dt="2022-11-12T16:57:07.115" v="840" actId="164"/>
          <ac:picMkLst>
            <pc:docMk/>
            <pc:sldMk cId="3652257828" sldId="4019"/>
            <ac:picMk id="20" creationId="{AB4EA26B-CFBA-815F-B0B8-DCED8FB0B9A7}"/>
          </ac:picMkLst>
        </pc:picChg>
        <pc:picChg chg="add mod">
          <ac:chgData name="Yaroslav Zhydyk" userId="feca11449df7c5ed" providerId="LiveId" clId="{DEB4F5E9-665E-474A-A1DA-C825ECC08A2E}" dt="2022-11-12T16:57:12.615" v="843" actId="164"/>
          <ac:picMkLst>
            <pc:docMk/>
            <pc:sldMk cId="3652257828" sldId="4019"/>
            <ac:picMk id="21" creationId="{1F827514-30AE-F09A-5683-87E1FC886E9C}"/>
          </ac:picMkLst>
        </pc:picChg>
        <pc:picChg chg="add mod">
          <ac:chgData name="Yaroslav Zhydyk" userId="feca11449df7c5ed" providerId="LiveId" clId="{DEB4F5E9-665E-474A-A1DA-C825ECC08A2E}" dt="2022-11-12T16:57:30.812" v="852" actId="208"/>
          <ac:picMkLst>
            <pc:docMk/>
            <pc:sldMk cId="3652257828" sldId="4019"/>
            <ac:picMk id="22" creationId="{28A1AE97-BB98-3824-4F56-D9E892D8408F}"/>
          </ac:picMkLst>
        </pc:picChg>
        <pc:cxnChg chg="add mod">
          <ac:chgData name="Yaroslav Zhydyk" userId="feca11449df7c5ed" providerId="LiveId" clId="{DEB4F5E9-665E-474A-A1DA-C825ECC08A2E}" dt="2022-11-12T16:58:33.013" v="869" actId="408"/>
          <ac:cxnSpMkLst>
            <pc:docMk/>
            <pc:sldMk cId="3652257828" sldId="4019"/>
            <ac:cxnSpMk id="30" creationId="{B909C034-56F0-EDD3-CF02-D0D69DBD1D3E}"/>
          </ac:cxnSpMkLst>
        </pc:cxnChg>
        <pc:cxnChg chg="add mod">
          <ac:chgData name="Yaroslav Zhydyk" userId="feca11449df7c5ed" providerId="LiveId" clId="{DEB4F5E9-665E-474A-A1DA-C825ECC08A2E}" dt="2022-11-12T16:58:33.013" v="869" actId="408"/>
          <ac:cxnSpMkLst>
            <pc:docMk/>
            <pc:sldMk cId="3652257828" sldId="4019"/>
            <ac:cxnSpMk id="31" creationId="{03212496-C1F7-7D7A-04E1-9F8DF4721BDD}"/>
          </ac:cxnSpMkLst>
        </pc:cxnChg>
      </pc:sldChg>
      <pc:sldChg chg="addSp delSp modSp add mod">
        <pc:chgData name="Yaroslav Zhydyk" userId="feca11449df7c5ed" providerId="LiveId" clId="{DEB4F5E9-665E-474A-A1DA-C825ECC08A2E}" dt="2022-11-12T17:00:33.054" v="900" actId="208"/>
        <pc:sldMkLst>
          <pc:docMk/>
          <pc:sldMk cId="610356313" sldId="4020"/>
        </pc:sldMkLst>
        <pc:spChg chg="mod">
          <ac:chgData name="Yaroslav Zhydyk" userId="feca11449df7c5ed" providerId="LiveId" clId="{DEB4F5E9-665E-474A-A1DA-C825ECC08A2E}" dt="2022-11-12T16:59:26.583" v="879" actId="207"/>
          <ac:spMkLst>
            <pc:docMk/>
            <pc:sldMk cId="610356313" sldId="4020"/>
            <ac:spMk id="2" creationId="{3572C159-98CD-D304-145E-862C98FAE001}"/>
          </ac:spMkLst>
        </pc:spChg>
        <pc:spChg chg="add mod topLvl">
          <ac:chgData name="Yaroslav Zhydyk" userId="feca11449df7c5ed" providerId="LiveId" clId="{DEB4F5E9-665E-474A-A1DA-C825ECC08A2E}" dt="2022-11-12T17:00:08.452" v="891" actId="164"/>
          <ac:spMkLst>
            <pc:docMk/>
            <pc:sldMk cId="610356313" sldId="4020"/>
            <ac:spMk id="3" creationId="{B3CDF394-75EE-E05F-F8B6-D7A117A46A3B}"/>
          </ac:spMkLst>
        </pc:spChg>
        <pc:spChg chg="add mod topLvl">
          <ac:chgData name="Yaroslav Zhydyk" userId="feca11449df7c5ed" providerId="LiveId" clId="{DEB4F5E9-665E-474A-A1DA-C825ECC08A2E}" dt="2022-11-12T17:00:08.452" v="891" actId="164"/>
          <ac:spMkLst>
            <pc:docMk/>
            <pc:sldMk cId="610356313" sldId="4020"/>
            <ac:spMk id="4" creationId="{2FC2BDA9-B46C-692E-F88B-4EBE26E02A2B}"/>
          </ac:spMkLst>
        </pc:spChg>
        <pc:spChg chg="add mod topLvl">
          <ac:chgData name="Yaroslav Zhydyk" userId="feca11449df7c5ed" providerId="LiveId" clId="{DEB4F5E9-665E-474A-A1DA-C825ECC08A2E}" dt="2022-11-12T17:00:08.452" v="891" actId="164"/>
          <ac:spMkLst>
            <pc:docMk/>
            <pc:sldMk cId="610356313" sldId="4020"/>
            <ac:spMk id="5" creationId="{AEF6E2D1-1956-FA16-2099-799DF18E39DC}"/>
          </ac:spMkLst>
        </pc:spChg>
        <pc:spChg chg="add mod topLvl">
          <ac:chgData name="Yaroslav Zhydyk" userId="feca11449df7c5ed" providerId="LiveId" clId="{DEB4F5E9-665E-474A-A1DA-C825ECC08A2E}" dt="2022-11-12T17:00:08.452" v="891" actId="164"/>
          <ac:spMkLst>
            <pc:docMk/>
            <pc:sldMk cId="610356313" sldId="4020"/>
            <ac:spMk id="6" creationId="{F454A81D-8449-7CCE-B202-D251559B60F7}"/>
          </ac:spMkLst>
        </pc:spChg>
        <pc:spChg chg="add mod">
          <ac:chgData name="Yaroslav Zhydyk" userId="feca11449df7c5ed" providerId="LiveId" clId="{DEB4F5E9-665E-474A-A1DA-C825ECC08A2E}" dt="2022-11-12T17:00:21.955" v="896" actId="12788"/>
          <ac:spMkLst>
            <pc:docMk/>
            <pc:sldMk cId="610356313" sldId="4020"/>
            <ac:spMk id="7" creationId="{46BAA65C-D9B2-C173-375B-C1FFC944EE1D}"/>
          </ac:spMkLst>
        </pc:spChg>
        <pc:spChg chg="add mod">
          <ac:chgData name="Yaroslav Zhydyk" userId="feca11449df7c5ed" providerId="LiveId" clId="{DEB4F5E9-665E-474A-A1DA-C825ECC08A2E}" dt="2022-11-12T17:00:21.955" v="896" actId="12788"/>
          <ac:spMkLst>
            <pc:docMk/>
            <pc:sldMk cId="610356313" sldId="4020"/>
            <ac:spMk id="8" creationId="{62788F9D-E52F-5C19-FCCA-E91A3B062CDB}"/>
          </ac:spMkLst>
        </pc:spChg>
        <pc:spChg chg="add mod">
          <ac:chgData name="Yaroslav Zhydyk" userId="feca11449df7c5ed" providerId="LiveId" clId="{DEB4F5E9-665E-474A-A1DA-C825ECC08A2E}" dt="2022-11-12T17:00:21.955" v="896" actId="12788"/>
          <ac:spMkLst>
            <pc:docMk/>
            <pc:sldMk cId="610356313" sldId="4020"/>
            <ac:spMk id="9" creationId="{01DD7BD6-7004-E8C8-183D-866D8DA756A7}"/>
          </ac:spMkLst>
        </pc:spChg>
        <pc:spChg chg="add mod topLvl">
          <ac:chgData name="Yaroslav Zhydyk" userId="feca11449df7c5ed" providerId="LiveId" clId="{DEB4F5E9-665E-474A-A1DA-C825ECC08A2E}" dt="2022-11-12T17:00:08.452" v="891" actId="164"/>
          <ac:spMkLst>
            <pc:docMk/>
            <pc:sldMk cId="610356313" sldId="4020"/>
            <ac:spMk id="10" creationId="{F27471A4-C8D5-E642-C441-80C3FED17616}"/>
          </ac:spMkLst>
        </pc:spChg>
        <pc:spChg chg="add mod">
          <ac:chgData name="Yaroslav Zhydyk" userId="feca11449df7c5ed" providerId="LiveId" clId="{DEB4F5E9-665E-474A-A1DA-C825ECC08A2E}" dt="2022-11-12T17:00:30.367" v="899" actId="208"/>
          <ac:spMkLst>
            <pc:docMk/>
            <pc:sldMk cId="610356313" sldId="4020"/>
            <ac:spMk id="12" creationId="{FFA6F25E-E0B9-B4E7-EE64-2BDE98C92622}"/>
          </ac:spMkLst>
        </pc:spChg>
        <pc:grpChg chg="del">
          <ac:chgData name="Yaroslav Zhydyk" userId="feca11449df7c5ed" providerId="LiveId" clId="{DEB4F5E9-665E-474A-A1DA-C825ECC08A2E}" dt="2022-11-12T16:59:11.392" v="876" actId="478"/>
          <ac:grpSpMkLst>
            <pc:docMk/>
            <pc:sldMk cId="610356313" sldId="4020"/>
            <ac:grpSpMk id="26" creationId="{A18C7F31-5864-CD68-F42E-077AD43F912C}"/>
          </ac:grpSpMkLst>
        </pc:grpChg>
        <pc:grpChg chg="del">
          <ac:chgData name="Yaroslav Zhydyk" userId="feca11449df7c5ed" providerId="LiveId" clId="{DEB4F5E9-665E-474A-A1DA-C825ECC08A2E}" dt="2022-11-12T16:59:11.392" v="876" actId="478"/>
          <ac:grpSpMkLst>
            <pc:docMk/>
            <pc:sldMk cId="610356313" sldId="4020"/>
            <ac:grpSpMk id="27" creationId="{7F8DFCB7-0861-164D-E404-F1B08ED68C1C}"/>
          </ac:grpSpMkLst>
        </pc:grpChg>
        <pc:grpChg chg="del">
          <ac:chgData name="Yaroslav Zhydyk" userId="feca11449df7c5ed" providerId="LiveId" clId="{DEB4F5E9-665E-474A-A1DA-C825ECC08A2E}" dt="2022-11-12T16:59:11.392" v="876" actId="478"/>
          <ac:grpSpMkLst>
            <pc:docMk/>
            <pc:sldMk cId="610356313" sldId="4020"/>
            <ac:grpSpMk id="28" creationId="{82243855-ED32-DA55-04ED-453D651E5593}"/>
          </ac:grpSpMkLst>
        </pc:grpChg>
        <pc:grpChg chg="add del mod">
          <ac:chgData name="Yaroslav Zhydyk" userId="feca11449df7c5ed" providerId="LiveId" clId="{DEB4F5E9-665E-474A-A1DA-C825ECC08A2E}" dt="2022-11-12T16:59:58.789" v="887" actId="165"/>
          <ac:grpSpMkLst>
            <pc:docMk/>
            <pc:sldMk cId="610356313" sldId="4020"/>
            <ac:grpSpMk id="29" creationId="{13C7AF1E-1E55-2909-AD1A-5A064EBC7C57}"/>
          </ac:grpSpMkLst>
        </pc:grpChg>
        <pc:grpChg chg="add mod">
          <ac:chgData name="Yaroslav Zhydyk" userId="feca11449df7c5ed" providerId="LiveId" clId="{DEB4F5E9-665E-474A-A1DA-C825ECC08A2E}" dt="2022-11-12T17:00:08.452" v="891" actId="164"/>
          <ac:grpSpMkLst>
            <pc:docMk/>
            <pc:sldMk cId="610356313" sldId="4020"/>
            <ac:grpSpMk id="32" creationId="{31BEC6E0-4B1D-B1EA-00C2-E85F426964D3}"/>
          </ac:grpSpMkLst>
        </pc:grpChg>
        <pc:picChg chg="add mod">
          <ac:chgData name="Yaroslav Zhydyk" userId="feca11449df7c5ed" providerId="LiveId" clId="{DEB4F5E9-665E-474A-A1DA-C825ECC08A2E}" dt="2022-11-12T16:59:51.697" v="886" actId="12788"/>
          <ac:picMkLst>
            <pc:docMk/>
            <pc:sldMk cId="610356313" sldId="4020"/>
            <ac:picMk id="11" creationId="{7A022A29-54A1-CFA7-5FAC-24F799074A07}"/>
          </ac:picMkLst>
        </pc:picChg>
        <pc:picChg chg="add mod">
          <ac:chgData name="Yaroslav Zhydyk" userId="feca11449df7c5ed" providerId="LiveId" clId="{DEB4F5E9-665E-474A-A1DA-C825ECC08A2E}" dt="2022-11-12T17:00:33.054" v="900" actId="208"/>
          <ac:picMkLst>
            <pc:docMk/>
            <pc:sldMk cId="610356313" sldId="4020"/>
            <ac:picMk id="13" creationId="{6F504D89-1F0F-33D1-0E42-67DF3B45D341}"/>
          </ac:picMkLst>
        </pc:picChg>
        <pc:cxnChg chg="del">
          <ac:chgData name="Yaroslav Zhydyk" userId="feca11449df7c5ed" providerId="LiveId" clId="{DEB4F5E9-665E-474A-A1DA-C825ECC08A2E}" dt="2022-11-12T16:59:16.584" v="877" actId="478"/>
          <ac:cxnSpMkLst>
            <pc:docMk/>
            <pc:sldMk cId="610356313" sldId="4020"/>
            <ac:cxnSpMk id="30" creationId="{B909C034-56F0-EDD3-CF02-D0D69DBD1D3E}"/>
          </ac:cxnSpMkLst>
        </pc:cxnChg>
        <pc:cxnChg chg="del">
          <ac:chgData name="Yaroslav Zhydyk" userId="feca11449df7c5ed" providerId="LiveId" clId="{DEB4F5E9-665E-474A-A1DA-C825ECC08A2E}" dt="2022-11-12T16:59:16.584" v="877" actId="478"/>
          <ac:cxnSpMkLst>
            <pc:docMk/>
            <pc:sldMk cId="610356313" sldId="4020"/>
            <ac:cxnSpMk id="31" creationId="{03212496-C1F7-7D7A-04E1-9F8DF4721BDD}"/>
          </ac:cxnSpMkLst>
        </pc:cxnChg>
      </pc:sldChg>
      <pc:sldChg chg="addSp modSp add mod ord">
        <pc:chgData name="Yaroslav Zhydyk" userId="feca11449df7c5ed" providerId="LiveId" clId="{DEB4F5E9-665E-474A-A1DA-C825ECC08A2E}" dt="2022-11-12T17:02:15.886" v="922" actId="12789"/>
        <pc:sldMkLst>
          <pc:docMk/>
          <pc:sldMk cId="2509277191" sldId="4021"/>
        </pc:sldMkLst>
        <pc:spChg chg="mod">
          <ac:chgData name="Yaroslav Zhydyk" userId="feca11449df7c5ed" providerId="LiveId" clId="{DEB4F5E9-665E-474A-A1DA-C825ECC08A2E}" dt="2022-11-12T17:01:32.689" v="917" actId="552"/>
          <ac:spMkLst>
            <pc:docMk/>
            <pc:sldMk cId="2509277191" sldId="4021"/>
            <ac:spMk id="2" creationId="{B98A5077-16B2-5216-7BF4-892A3FC6E796}"/>
          </ac:spMkLst>
        </pc:spChg>
        <pc:spChg chg="add mod">
          <ac:chgData name="Yaroslav Zhydyk" userId="feca11449df7c5ed" providerId="LiveId" clId="{DEB4F5E9-665E-474A-A1DA-C825ECC08A2E}" dt="2022-11-12T17:01:37.287" v="918" actId="207"/>
          <ac:spMkLst>
            <pc:docMk/>
            <pc:sldMk cId="2509277191" sldId="4021"/>
            <ac:spMk id="3" creationId="{7AC435ED-0AE1-6B4F-7CAC-C0AAD82F143E}"/>
          </ac:spMkLst>
        </pc:spChg>
        <pc:spChg chg="add mod">
          <ac:chgData name="Yaroslav Zhydyk" userId="feca11449df7c5ed" providerId="LiveId" clId="{DEB4F5E9-665E-474A-A1DA-C825ECC08A2E}" dt="2022-11-12T17:01:37.287" v="918" actId="207"/>
          <ac:spMkLst>
            <pc:docMk/>
            <pc:sldMk cId="2509277191" sldId="4021"/>
            <ac:spMk id="5" creationId="{F0B14690-3BD3-1D03-7D55-3B0C7269C238}"/>
          </ac:spMkLst>
        </pc:spChg>
        <pc:spChg chg="add mod">
          <ac:chgData name="Yaroslav Zhydyk" userId="feca11449df7c5ed" providerId="LiveId" clId="{DEB4F5E9-665E-474A-A1DA-C825ECC08A2E}" dt="2022-11-12T17:01:37.287" v="918" actId="207"/>
          <ac:spMkLst>
            <pc:docMk/>
            <pc:sldMk cId="2509277191" sldId="4021"/>
            <ac:spMk id="7" creationId="{BFCF8335-88AA-8CB1-2A60-844037D64BB0}"/>
          </ac:spMkLst>
        </pc:spChg>
        <pc:grpChg chg="add mod">
          <ac:chgData name="Yaroslav Zhydyk" userId="feca11449df7c5ed" providerId="LiveId" clId="{DEB4F5E9-665E-474A-A1DA-C825ECC08A2E}" dt="2022-11-12T17:01:37.287" v="918" actId="207"/>
          <ac:grpSpMkLst>
            <pc:docMk/>
            <pc:sldMk cId="2509277191" sldId="4021"/>
            <ac:grpSpMk id="8" creationId="{B5AA9DCB-CA64-EF9D-EF27-0CBFE6BB8D60}"/>
          </ac:grpSpMkLst>
        </pc:grpChg>
        <pc:picChg chg="add mod">
          <ac:chgData name="Yaroslav Zhydyk" userId="feca11449df7c5ed" providerId="LiveId" clId="{DEB4F5E9-665E-474A-A1DA-C825ECC08A2E}" dt="2022-11-12T17:02:15.886" v="922" actId="12789"/>
          <ac:picMkLst>
            <pc:docMk/>
            <pc:sldMk cId="2509277191" sldId="4021"/>
            <ac:picMk id="10" creationId="{0B777CA6-07FE-706D-2819-F47952C3B142}"/>
          </ac:picMkLst>
        </pc:picChg>
      </pc:sldChg>
      <pc:sldChg chg="delSp modSp add mod modClrScheme delAnim chgLayout">
        <pc:chgData name="Yaroslav Zhydyk" userId="feca11449df7c5ed" providerId="LiveId" clId="{DEB4F5E9-665E-474A-A1DA-C825ECC08A2E}" dt="2022-11-12T18:33:51.022" v="961"/>
        <pc:sldMkLst>
          <pc:docMk/>
          <pc:sldMk cId="2344764261" sldId="4022"/>
        </pc:sldMkLst>
        <pc:spChg chg="mod ord">
          <ac:chgData name="Yaroslav Zhydyk" userId="feca11449df7c5ed" providerId="LiveId" clId="{DEB4F5E9-665E-474A-A1DA-C825ECC08A2E}" dt="2022-11-12T18:33:51.022" v="961"/>
          <ac:spMkLst>
            <pc:docMk/>
            <pc:sldMk cId="2344764261" sldId="4022"/>
            <ac:spMk id="2" creationId="{89F93642-F6EC-2B94-8BCC-5AEDC9329EA6}"/>
          </ac:spMkLst>
        </pc:spChg>
        <pc:grpChg chg="del">
          <ac:chgData name="Yaroslav Zhydyk" userId="feca11449df7c5ed" providerId="LiveId" clId="{DEB4F5E9-665E-474A-A1DA-C825ECC08A2E}" dt="2022-11-12T18:33:48.162" v="959" actId="478"/>
          <ac:grpSpMkLst>
            <pc:docMk/>
            <pc:sldMk cId="2344764261" sldId="4022"/>
            <ac:grpSpMk id="3" creationId="{ADEFDC3E-04EB-806B-A490-39DED754BA5C}"/>
          </ac:grpSpMkLst>
        </pc:grpChg>
        <pc:grpChg chg="del">
          <ac:chgData name="Yaroslav Zhydyk" userId="feca11449df7c5ed" providerId="LiveId" clId="{DEB4F5E9-665E-474A-A1DA-C825ECC08A2E}" dt="2022-11-12T18:33:48.162" v="959" actId="478"/>
          <ac:grpSpMkLst>
            <pc:docMk/>
            <pc:sldMk cId="2344764261" sldId="4022"/>
            <ac:grpSpMk id="25" creationId="{D6D3AFC5-4B5C-5CFB-5B30-461AD923098B}"/>
          </ac:grpSpMkLst>
        </pc:grpChg>
        <pc:picChg chg="del">
          <ac:chgData name="Yaroslav Zhydyk" userId="feca11449df7c5ed" providerId="LiveId" clId="{DEB4F5E9-665E-474A-A1DA-C825ECC08A2E}" dt="2022-11-12T18:33:48.162" v="959" actId="478"/>
          <ac:picMkLst>
            <pc:docMk/>
            <pc:sldMk cId="2344764261" sldId="4022"/>
            <ac:picMk id="35" creationId="{EC5BB1AD-71B2-DEF6-243E-2D2A33DD5CC6}"/>
          </ac:picMkLst>
        </pc:picChg>
        <pc:picChg chg="del">
          <ac:chgData name="Yaroslav Zhydyk" userId="feca11449df7c5ed" providerId="LiveId" clId="{DEB4F5E9-665E-474A-A1DA-C825ECC08A2E}" dt="2022-11-12T18:33:48.162" v="959" actId="478"/>
          <ac:picMkLst>
            <pc:docMk/>
            <pc:sldMk cId="2344764261" sldId="4022"/>
            <ac:picMk id="36" creationId="{A3DC052A-C8B1-B42F-8F31-F0D0A4A0BD90}"/>
          </ac:picMkLst>
        </pc:picChg>
        <pc:picChg chg="del">
          <ac:chgData name="Yaroslav Zhydyk" userId="feca11449df7c5ed" providerId="LiveId" clId="{DEB4F5E9-665E-474A-A1DA-C825ECC08A2E}" dt="2022-11-12T18:33:48.162" v="959" actId="478"/>
          <ac:picMkLst>
            <pc:docMk/>
            <pc:sldMk cId="2344764261" sldId="4022"/>
            <ac:picMk id="37" creationId="{FA74C08A-6841-2420-1ED2-47E825735103}"/>
          </ac:picMkLst>
        </pc:picChg>
        <pc:picChg chg="del">
          <ac:chgData name="Yaroslav Zhydyk" userId="feca11449df7c5ed" providerId="LiveId" clId="{DEB4F5E9-665E-474A-A1DA-C825ECC08A2E}" dt="2022-11-12T18:33:48.162" v="959" actId="478"/>
          <ac:picMkLst>
            <pc:docMk/>
            <pc:sldMk cId="2344764261" sldId="4022"/>
            <ac:picMk id="38" creationId="{0C9E0C63-7309-2790-2F23-6B280556B181}"/>
          </ac:picMkLst>
        </pc:picChg>
        <pc:picChg chg="del">
          <ac:chgData name="Yaroslav Zhydyk" userId="feca11449df7c5ed" providerId="LiveId" clId="{DEB4F5E9-665E-474A-A1DA-C825ECC08A2E}" dt="2022-11-12T18:33:48.162" v="959" actId="478"/>
          <ac:picMkLst>
            <pc:docMk/>
            <pc:sldMk cId="2344764261" sldId="4022"/>
            <ac:picMk id="39" creationId="{20D2744B-1635-1C6A-2CAC-DB1E553C4EF2}"/>
          </ac:picMkLst>
        </pc:picChg>
        <pc:picChg chg="del">
          <ac:chgData name="Yaroslav Zhydyk" userId="feca11449df7c5ed" providerId="LiveId" clId="{DEB4F5E9-665E-474A-A1DA-C825ECC08A2E}" dt="2022-11-12T18:33:48.162" v="959" actId="478"/>
          <ac:picMkLst>
            <pc:docMk/>
            <pc:sldMk cId="2344764261" sldId="4022"/>
            <ac:picMk id="40" creationId="{E6439414-29AC-6F93-0D8D-1404F39A6617}"/>
          </ac:picMkLst>
        </pc:picChg>
      </pc:sldChg>
      <pc:sldMasterChg chg="delSldLayout modSldLayout">
        <pc:chgData name="Yaroslav Zhydyk" userId="feca11449df7c5ed" providerId="LiveId" clId="{DEB4F5E9-665E-474A-A1DA-C825ECC08A2E}" dt="2022-11-12T18:34:22.578" v="970" actId="47"/>
        <pc:sldMasterMkLst>
          <pc:docMk/>
          <pc:sldMasterMk cId="1709005174" sldId="2147483663"/>
        </pc:sldMasterMkLst>
        <pc:sldLayoutChg chg="del">
          <pc:chgData name="Yaroslav Zhydyk" userId="feca11449df7c5ed" providerId="LiveId" clId="{DEB4F5E9-665E-474A-A1DA-C825ECC08A2E}" dt="2022-11-12T17:00:37.865" v="901" actId="47"/>
          <pc:sldLayoutMkLst>
            <pc:docMk/>
            <pc:sldMasterMk cId="1709005174" sldId="2147483663"/>
            <pc:sldLayoutMk cId="3420719317" sldId="2147483677"/>
          </pc:sldLayoutMkLst>
        </pc:sldLayoutChg>
        <pc:sldLayoutChg chg="del">
          <pc:chgData name="Yaroslav Zhydyk" userId="feca11449df7c5ed" providerId="LiveId" clId="{DEB4F5E9-665E-474A-A1DA-C825ECC08A2E}" dt="2022-11-12T16:51:16.459" v="722" actId="47"/>
          <pc:sldLayoutMkLst>
            <pc:docMk/>
            <pc:sldMasterMk cId="1709005174" sldId="2147483663"/>
            <pc:sldLayoutMk cId="3798058123" sldId="2147483678"/>
          </pc:sldLayoutMkLst>
        </pc:sldLayoutChg>
        <pc:sldLayoutChg chg="delSp modSp mod">
          <pc:chgData name="Yaroslav Zhydyk" userId="feca11449df7c5ed" providerId="LiveId" clId="{DEB4F5E9-665E-474A-A1DA-C825ECC08A2E}" dt="2022-11-12T16:41:20.230" v="550" actId="478"/>
          <pc:sldLayoutMkLst>
            <pc:docMk/>
            <pc:sldMasterMk cId="1709005174" sldId="2147483663"/>
            <pc:sldLayoutMk cId="4248536172" sldId="2147483679"/>
          </pc:sldLayoutMkLst>
          <pc:spChg chg="del">
            <ac:chgData name="Yaroslav Zhydyk" userId="feca11449df7c5ed" providerId="LiveId" clId="{DEB4F5E9-665E-474A-A1DA-C825ECC08A2E}" dt="2022-11-12T16:41:20.230" v="550" actId="478"/>
            <ac:spMkLst>
              <pc:docMk/>
              <pc:sldMasterMk cId="1709005174" sldId="2147483663"/>
              <pc:sldLayoutMk cId="4248536172" sldId="2147483679"/>
              <ac:spMk id="5" creationId="{1D5F5A92-A95B-409A-8034-43C7D87F3D23}"/>
            </ac:spMkLst>
          </pc:spChg>
        </pc:sldLayoutChg>
        <pc:sldLayoutChg chg="del">
          <pc:chgData name="Yaroslav Zhydyk" userId="feca11449df7c5ed" providerId="LiveId" clId="{DEB4F5E9-665E-474A-A1DA-C825ECC08A2E}" dt="2022-11-12T17:02:28.743" v="923" actId="47"/>
          <pc:sldLayoutMkLst>
            <pc:docMk/>
            <pc:sldMasterMk cId="1709005174" sldId="2147483663"/>
            <pc:sldLayoutMk cId="2031509001" sldId="2147483680"/>
          </pc:sldLayoutMkLst>
        </pc:sldLayoutChg>
        <pc:sldLayoutChg chg="del">
          <pc:chgData name="Yaroslav Zhydyk" userId="feca11449df7c5ed" providerId="LiveId" clId="{DEB4F5E9-665E-474A-A1DA-C825ECC08A2E}" dt="2022-11-12T18:33:53.860" v="962" actId="47"/>
          <pc:sldLayoutMkLst>
            <pc:docMk/>
            <pc:sldMasterMk cId="1709005174" sldId="2147483663"/>
            <pc:sldLayoutMk cId="3354199941" sldId="2147483682"/>
          </pc:sldLayoutMkLst>
        </pc:sldLayoutChg>
        <pc:sldLayoutChg chg="del">
          <pc:chgData name="Yaroslav Zhydyk" userId="feca11449df7c5ed" providerId="LiveId" clId="{DEB4F5E9-665E-474A-A1DA-C825ECC08A2E}" dt="2022-11-12T18:34:22.578" v="970" actId="47"/>
          <pc:sldLayoutMkLst>
            <pc:docMk/>
            <pc:sldMasterMk cId="1709005174" sldId="2147483663"/>
            <pc:sldLayoutMk cId="2524618131" sldId="2147483683"/>
          </pc:sldLayoutMkLst>
        </pc:sldLayoutChg>
      </pc:sldMasterChg>
    </pc:docChg>
  </pc:docChgLst>
  <pc:docChgLst>
    <pc:chgData name="Yaroslav Zhydyk" userId="feca11449df7c5ed" providerId="LiveId" clId="{186FDB4A-D0D0-446A-9945-6468067BA58C}"/>
    <pc:docChg chg="undo custSel addSld modSld sldOrd modMainMaster replTag">
      <pc:chgData name="Yaroslav Zhydyk" userId="feca11449df7c5ed" providerId="LiveId" clId="{186FDB4A-D0D0-446A-9945-6468067BA58C}" dt="2022-10-29T14:24:47.840" v="1228" actId="408"/>
      <pc:docMkLst>
        <pc:docMk/>
      </pc:docMkLst>
      <pc:sldChg chg="addSp delSp modSp new add mod modClrScheme chgLayout">
        <pc:chgData name="Yaroslav Zhydyk" userId="feca11449df7c5ed" providerId="LiveId" clId="{186FDB4A-D0D0-446A-9945-6468067BA58C}" dt="2022-10-29T13:45:49.971" v="1165" actId="478"/>
        <pc:sldMkLst>
          <pc:docMk/>
          <pc:sldMk cId="3493935180" sldId="256"/>
        </pc:sldMkLst>
        <pc:spChg chg="del mod">
          <ac:chgData name="Yaroslav Zhydyk" userId="feca11449df7c5ed" providerId="LiveId" clId="{186FDB4A-D0D0-446A-9945-6468067BA58C}" dt="2022-10-29T10:41:54.484" v="77" actId="478"/>
          <ac:spMkLst>
            <pc:docMk/>
            <pc:sldMk cId="3493935180" sldId="256"/>
            <ac:spMk id="2" creationId="{41F9EE2C-F2ED-001D-75E5-AC67353D0F9D}"/>
          </ac:spMkLst>
        </pc:spChg>
        <pc:spChg chg="del mod">
          <ac:chgData name="Yaroslav Zhydyk" userId="feca11449df7c5ed" providerId="LiveId" clId="{186FDB4A-D0D0-446A-9945-6468067BA58C}" dt="2022-10-29T10:41:54.484" v="77" actId="478"/>
          <ac:spMkLst>
            <pc:docMk/>
            <pc:sldMk cId="3493935180" sldId="256"/>
            <ac:spMk id="3" creationId="{D05A5FD6-6539-815F-0A66-834A58A64635}"/>
          </ac:spMkLst>
        </pc:spChg>
        <pc:spChg chg="add mod ord">
          <ac:chgData name="Yaroslav Zhydyk" userId="feca11449df7c5ed" providerId="LiveId" clId="{186FDB4A-D0D0-446A-9945-6468067BA58C}" dt="2022-10-29T12:58:00.690" v="420"/>
          <ac:spMkLst>
            <pc:docMk/>
            <pc:sldMk cId="3493935180" sldId="256"/>
            <ac:spMk id="5" creationId="{805F823C-4B4D-4EC8-15D7-D1C57874B9C0}"/>
          </ac:spMkLst>
        </pc:spChg>
        <pc:spChg chg="add mod">
          <ac:chgData name="Yaroslav Zhydyk" userId="feca11449df7c5ed" providerId="LiveId" clId="{186FDB4A-D0D0-446A-9945-6468067BA58C}" dt="2022-10-29T12:58:00.690" v="420"/>
          <ac:spMkLst>
            <pc:docMk/>
            <pc:sldMk cId="3493935180" sldId="256"/>
            <ac:spMk id="6" creationId="{2530C375-BD99-821B-60A5-6BD7DE5BF829}"/>
          </ac:spMkLst>
        </pc:spChg>
        <pc:spChg chg="add mod">
          <ac:chgData name="Yaroslav Zhydyk" userId="feca11449df7c5ed" providerId="LiveId" clId="{186FDB4A-D0D0-446A-9945-6468067BA58C}" dt="2022-10-29T12:58:00.690" v="420"/>
          <ac:spMkLst>
            <pc:docMk/>
            <pc:sldMk cId="3493935180" sldId="256"/>
            <ac:spMk id="7" creationId="{D6506A5C-8CAE-8044-28B8-28BF7DD3ECF7}"/>
          </ac:spMkLst>
        </pc:spChg>
        <pc:spChg chg="add mod">
          <ac:chgData name="Yaroslav Zhydyk" userId="feca11449df7c5ed" providerId="LiveId" clId="{186FDB4A-D0D0-446A-9945-6468067BA58C}" dt="2022-10-29T12:58:00.690" v="420"/>
          <ac:spMkLst>
            <pc:docMk/>
            <pc:sldMk cId="3493935180" sldId="256"/>
            <ac:spMk id="8" creationId="{7E37A0FC-BEA4-801F-F62E-69D85F1C345E}"/>
          </ac:spMkLst>
        </pc:spChg>
        <pc:spChg chg="add del mod">
          <ac:chgData name="Yaroslav Zhydyk" userId="feca11449df7c5ed" providerId="LiveId" clId="{186FDB4A-D0D0-446A-9945-6468067BA58C}" dt="2022-10-29T13:45:12.241" v="1136" actId="21"/>
          <ac:spMkLst>
            <pc:docMk/>
            <pc:sldMk cId="3493935180" sldId="256"/>
            <ac:spMk id="11" creationId="{374E608F-4A32-BE9A-1A2C-9662490FBD16}"/>
          </ac:spMkLst>
        </pc:spChg>
        <pc:graphicFrameChg chg="add mod ord modVis replST">
          <ac:chgData name="Yaroslav Zhydyk" userId="feca11449df7c5ed" providerId="LiveId" clId="{186FDB4A-D0D0-446A-9945-6468067BA58C}" dt="2022-10-29T12:58:01.262" v="466"/>
          <ac:graphicFrameMkLst>
            <pc:docMk/>
            <pc:sldMk cId="3493935180" sldId="256"/>
            <ac:graphicFrameMk id="4" creationId="{A576AE79-652B-18A8-31D9-28C2BC3EA100}"/>
          </ac:graphicFrameMkLst>
        </pc:graphicFrameChg>
        <pc:picChg chg="add del mod">
          <ac:chgData name="Yaroslav Zhydyk" userId="feca11449df7c5ed" providerId="LiveId" clId="{186FDB4A-D0D0-446A-9945-6468067BA58C}" dt="2022-10-29T13:42:10.540" v="1079" actId="21"/>
          <ac:picMkLst>
            <pc:docMk/>
            <pc:sldMk cId="3493935180" sldId="256"/>
            <ac:picMk id="3" creationId="{1E319040-E3B3-FDB9-6446-9C00523EAB8D}"/>
          </ac:picMkLst>
        </pc:picChg>
        <pc:picChg chg="add del">
          <ac:chgData name="Yaroslav Zhydyk" userId="feca11449df7c5ed" providerId="LiveId" clId="{186FDB4A-D0D0-446A-9945-6468067BA58C}" dt="2022-10-29T13:45:49.971" v="1165" actId="478"/>
          <ac:picMkLst>
            <pc:docMk/>
            <pc:sldMk cId="3493935180" sldId="256"/>
            <ac:picMk id="10" creationId="{1481159F-4219-04A0-53EB-8D7C0454431B}"/>
          </ac:picMkLst>
        </pc:picChg>
      </pc:sldChg>
      <pc:sldChg chg="modSp new add mod">
        <pc:chgData name="Yaroslav Zhydyk" userId="feca11449df7c5ed" providerId="LiveId" clId="{186FDB4A-D0D0-446A-9945-6468067BA58C}" dt="2022-10-29T12:58:00.690" v="420"/>
        <pc:sldMkLst>
          <pc:docMk/>
          <pc:sldMk cId="2207511441" sldId="257"/>
        </pc:sldMkLst>
        <pc:spChg chg="mod">
          <ac:chgData name="Yaroslav Zhydyk" userId="feca11449df7c5ed" providerId="LiveId" clId="{186FDB4A-D0D0-446A-9945-6468067BA58C}" dt="2022-10-29T12:58:00.690" v="420"/>
          <ac:spMkLst>
            <pc:docMk/>
            <pc:sldMk cId="2207511441" sldId="257"/>
            <ac:spMk id="2" creationId="{68D5F1BF-947A-0F44-F59A-88E76FEA875F}"/>
          </ac:spMkLst>
        </pc:spChg>
      </pc:sldChg>
      <pc:sldChg chg="addSp delSp modSp add mod ord">
        <pc:chgData name="Yaroslav Zhydyk" userId="feca11449df7c5ed" providerId="LiveId" clId="{186FDB4A-D0D0-446A-9945-6468067BA58C}" dt="2022-10-29T14:24:47.840" v="1228" actId="408"/>
        <pc:sldMkLst>
          <pc:docMk/>
          <pc:sldMk cId="428792147" sldId="258"/>
        </pc:sldMkLst>
        <pc:spChg chg="mod ord">
          <ac:chgData name="Yaroslav Zhydyk" userId="feca11449df7c5ed" providerId="LiveId" clId="{186FDB4A-D0D0-446A-9945-6468067BA58C}" dt="2022-10-29T14:23:55.999" v="1205" actId="207"/>
          <ac:spMkLst>
            <pc:docMk/>
            <pc:sldMk cId="428792147" sldId="258"/>
            <ac:spMk id="2" creationId="{68D5F1BF-947A-0F44-F59A-88E76FEA875F}"/>
          </ac:spMkLst>
        </pc:spChg>
        <pc:spChg chg="add del mod ord">
          <ac:chgData name="Yaroslav Zhydyk" userId="feca11449df7c5ed" providerId="LiveId" clId="{186FDB4A-D0D0-446A-9945-6468067BA58C}" dt="2022-10-29T14:23:51.720" v="1204" actId="478"/>
          <ac:spMkLst>
            <pc:docMk/>
            <pc:sldMk cId="428792147" sldId="258"/>
            <ac:spMk id="3" creationId="{8B346919-DAEE-F7EC-2BF0-7EB1A174D69C}"/>
          </ac:spMkLst>
        </pc:spChg>
        <pc:spChg chg="add mod">
          <ac:chgData name="Yaroslav Zhydyk" userId="feca11449df7c5ed" providerId="LiveId" clId="{186FDB4A-D0D0-446A-9945-6468067BA58C}" dt="2022-10-29T14:24:27.288" v="1220" actId="2711"/>
          <ac:spMkLst>
            <pc:docMk/>
            <pc:sldMk cId="428792147" sldId="258"/>
            <ac:spMk id="5" creationId="{D366CD11-E393-D3E5-DB17-3B9C346CEB77}"/>
          </ac:spMkLst>
        </pc:spChg>
        <pc:spChg chg="add mod">
          <ac:chgData name="Yaroslav Zhydyk" userId="feca11449df7c5ed" providerId="LiveId" clId="{186FDB4A-D0D0-446A-9945-6468067BA58C}" dt="2022-10-29T14:24:38.645" v="1225" actId="1076"/>
          <ac:spMkLst>
            <pc:docMk/>
            <pc:sldMk cId="428792147" sldId="258"/>
            <ac:spMk id="6" creationId="{DFAB1005-8D50-AF29-16E8-FA7B6ACCE6E2}"/>
          </ac:spMkLst>
        </pc:spChg>
        <pc:spChg chg="add mod">
          <ac:chgData name="Yaroslav Zhydyk" userId="feca11449df7c5ed" providerId="LiveId" clId="{186FDB4A-D0D0-446A-9945-6468067BA58C}" dt="2022-10-29T14:24:47.840" v="1228" actId="408"/>
          <ac:spMkLst>
            <pc:docMk/>
            <pc:sldMk cId="428792147" sldId="258"/>
            <ac:spMk id="7" creationId="{5AFFE72B-B4B5-0580-154F-C04392A07F3D}"/>
          </ac:spMkLst>
        </pc:spChg>
        <pc:spChg chg="add mod">
          <ac:chgData name="Yaroslav Zhydyk" userId="feca11449df7c5ed" providerId="LiveId" clId="{186FDB4A-D0D0-446A-9945-6468067BA58C}" dt="2022-10-29T14:24:47.840" v="1228" actId="408"/>
          <ac:spMkLst>
            <pc:docMk/>
            <pc:sldMk cId="428792147" sldId="258"/>
            <ac:spMk id="8" creationId="{027883F0-7EAA-0455-D502-C3339D5F9FA5}"/>
          </ac:spMkLst>
        </pc:spChg>
        <pc:graphicFrameChg chg="add mod ord modVis replST">
          <ac:chgData name="Yaroslav Zhydyk" userId="feca11449df7c5ed" providerId="LiveId" clId="{186FDB4A-D0D0-446A-9945-6468067BA58C}" dt="2022-10-29T14:23:32.785" v="1194"/>
          <ac:graphicFrameMkLst>
            <pc:docMk/>
            <pc:sldMk cId="428792147" sldId="258"/>
            <ac:graphicFrameMk id="4" creationId="{1B3E4F37-698F-423B-B473-5D927AB99B2E}"/>
          </ac:graphicFrameMkLst>
        </pc:graphicFrameChg>
      </pc:sldChg>
      <pc:sldMasterChg chg="modSp modSldLayout">
        <pc:chgData name="Yaroslav Zhydyk" userId="feca11449df7c5ed" providerId="LiveId" clId="{186FDB4A-D0D0-446A-9945-6468067BA58C}" dt="2022-10-29T10:41:51.829" v="2"/>
        <pc:sldMasterMkLst>
          <pc:docMk/>
          <pc:sldMasterMk cId="3795624097" sldId="2147483648"/>
        </pc:sldMasterMkLst>
        <pc:spChg chg="mod">
          <ac:chgData name="Yaroslav Zhydyk" userId="feca11449df7c5ed" providerId="LiveId" clId="{186FDB4A-D0D0-446A-9945-6468067BA58C}" dt="2022-10-29T10:41:51.829" v="2"/>
          <ac:spMkLst>
            <pc:docMk/>
            <pc:sldMasterMk cId="3795624097" sldId="2147483648"/>
            <ac:spMk id="2" creationId="{EB7F4A28-C3F8-7BA6-0AAD-EC4CBFE57046}"/>
          </ac:spMkLst>
        </pc:spChg>
        <pc:spChg chg="mod">
          <ac:chgData name="Yaroslav Zhydyk" userId="feca11449df7c5ed" providerId="LiveId" clId="{186FDB4A-D0D0-446A-9945-6468067BA58C}" dt="2022-10-29T10:41:51.829" v="2"/>
          <ac:spMkLst>
            <pc:docMk/>
            <pc:sldMasterMk cId="3795624097" sldId="2147483648"/>
            <ac:spMk id="3" creationId="{F0F4E320-C360-C960-3537-F3D0024E5DC4}"/>
          </ac:spMkLst>
        </pc:spChg>
        <pc:spChg chg="mod">
          <ac:chgData name="Yaroslav Zhydyk" userId="feca11449df7c5ed" providerId="LiveId" clId="{186FDB4A-D0D0-446A-9945-6468067BA58C}" dt="2022-10-29T10:41:51.829" v="2"/>
          <ac:spMkLst>
            <pc:docMk/>
            <pc:sldMasterMk cId="3795624097" sldId="2147483648"/>
            <ac:spMk id="4" creationId="{A3532357-DEFA-43C3-CB9D-BBD282C4AB30}"/>
          </ac:spMkLst>
        </pc:spChg>
        <pc:spChg chg="mod">
          <ac:chgData name="Yaroslav Zhydyk" userId="feca11449df7c5ed" providerId="LiveId" clId="{186FDB4A-D0D0-446A-9945-6468067BA58C}" dt="2022-10-29T10:41:51.829" v="2"/>
          <ac:spMkLst>
            <pc:docMk/>
            <pc:sldMasterMk cId="3795624097" sldId="2147483648"/>
            <ac:spMk id="5" creationId="{CEECD19E-5B8F-6B14-830A-A4AC28FF0090}"/>
          </ac:spMkLst>
        </pc:spChg>
        <pc:spChg chg="mod">
          <ac:chgData name="Yaroslav Zhydyk" userId="feca11449df7c5ed" providerId="LiveId" clId="{186FDB4A-D0D0-446A-9945-6468067BA58C}" dt="2022-10-29T10:41:51.829" v="2"/>
          <ac:spMkLst>
            <pc:docMk/>
            <pc:sldMasterMk cId="3795624097" sldId="2147483648"/>
            <ac:spMk id="6" creationId="{C6178E6B-C0FE-D978-E6A7-492E4A134F1F}"/>
          </ac:spMkLst>
        </pc:spChg>
        <pc:sldLayoutChg chg="modSp">
          <pc:chgData name="Yaroslav Zhydyk" userId="feca11449df7c5ed" providerId="LiveId" clId="{186FDB4A-D0D0-446A-9945-6468067BA58C}" dt="2022-10-29T10:41:51.829" v="2"/>
          <pc:sldLayoutMkLst>
            <pc:docMk/>
            <pc:sldMasterMk cId="3795624097" sldId="2147483648"/>
            <pc:sldLayoutMk cId="1664675532" sldId="2147483649"/>
          </pc:sldLayoutMkLst>
          <pc:spChg chg="mod">
            <ac:chgData name="Yaroslav Zhydyk" userId="feca11449df7c5ed" providerId="LiveId" clId="{186FDB4A-D0D0-446A-9945-6468067BA58C}" dt="2022-10-29T10:41:51.829" v="2"/>
            <ac:spMkLst>
              <pc:docMk/>
              <pc:sldMasterMk cId="3795624097" sldId="2147483648"/>
              <pc:sldLayoutMk cId="1664675532" sldId="2147483649"/>
              <ac:spMk id="2" creationId="{25A43727-98C4-2194-E862-01B7FC578864}"/>
            </ac:spMkLst>
          </pc:spChg>
          <pc:spChg chg="mod">
            <ac:chgData name="Yaroslav Zhydyk" userId="feca11449df7c5ed" providerId="LiveId" clId="{186FDB4A-D0D0-446A-9945-6468067BA58C}" dt="2022-10-29T10:41:51.829" v="2"/>
            <ac:spMkLst>
              <pc:docMk/>
              <pc:sldMasterMk cId="3795624097" sldId="2147483648"/>
              <pc:sldLayoutMk cId="1664675532" sldId="2147483649"/>
              <ac:spMk id="3" creationId="{ABAD685F-33C3-60A4-C5E0-FF2CD8E38D20}"/>
            </ac:spMkLst>
          </pc:spChg>
        </pc:sldLayoutChg>
        <pc:sldLayoutChg chg="modSp">
          <pc:chgData name="Yaroslav Zhydyk" userId="feca11449df7c5ed" providerId="LiveId" clId="{186FDB4A-D0D0-446A-9945-6468067BA58C}" dt="2022-10-29T10:41:51.829" v="2"/>
          <pc:sldLayoutMkLst>
            <pc:docMk/>
            <pc:sldMasterMk cId="3795624097" sldId="2147483648"/>
            <pc:sldLayoutMk cId="698038997" sldId="2147483651"/>
          </pc:sldLayoutMkLst>
          <pc:spChg chg="mod">
            <ac:chgData name="Yaroslav Zhydyk" userId="feca11449df7c5ed" providerId="LiveId" clId="{186FDB4A-D0D0-446A-9945-6468067BA58C}" dt="2022-10-29T10:41:51.829" v="2"/>
            <ac:spMkLst>
              <pc:docMk/>
              <pc:sldMasterMk cId="3795624097" sldId="2147483648"/>
              <pc:sldLayoutMk cId="698038997" sldId="2147483651"/>
              <ac:spMk id="2" creationId="{46AC5A00-C259-761F-3797-2AB1E739A5DE}"/>
            </ac:spMkLst>
          </pc:spChg>
          <pc:spChg chg="mod">
            <ac:chgData name="Yaroslav Zhydyk" userId="feca11449df7c5ed" providerId="LiveId" clId="{186FDB4A-D0D0-446A-9945-6468067BA58C}" dt="2022-10-29T10:41:51.829" v="2"/>
            <ac:spMkLst>
              <pc:docMk/>
              <pc:sldMasterMk cId="3795624097" sldId="2147483648"/>
              <pc:sldLayoutMk cId="698038997" sldId="2147483651"/>
              <ac:spMk id="3" creationId="{2499BDD0-E535-D395-E6DB-CDD9BFC76B8E}"/>
            </ac:spMkLst>
          </pc:spChg>
        </pc:sldLayoutChg>
        <pc:sldLayoutChg chg="modSp">
          <pc:chgData name="Yaroslav Zhydyk" userId="feca11449df7c5ed" providerId="LiveId" clId="{186FDB4A-D0D0-446A-9945-6468067BA58C}" dt="2022-10-29T10:41:51.829" v="2"/>
          <pc:sldLayoutMkLst>
            <pc:docMk/>
            <pc:sldMasterMk cId="3795624097" sldId="2147483648"/>
            <pc:sldLayoutMk cId="3461048897" sldId="2147483652"/>
          </pc:sldLayoutMkLst>
          <pc:spChg chg="mod">
            <ac:chgData name="Yaroslav Zhydyk" userId="feca11449df7c5ed" providerId="LiveId" clId="{186FDB4A-D0D0-446A-9945-6468067BA58C}" dt="2022-10-29T10:41:51.829" v="2"/>
            <ac:spMkLst>
              <pc:docMk/>
              <pc:sldMasterMk cId="3795624097" sldId="2147483648"/>
              <pc:sldLayoutMk cId="3461048897" sldId="2147483652"/>
              <ac:spMk id="3" creationId="{24D2B029-6E9A-0EB1-645F-1FCE725354E9}"/>
            </ac:spMkLst>
          </pc:spChg>
          <pc:spChg chg="mod">
            <ac:chgData name="Yaroslav Zhydyk" userId="feca11449df7c5ed" providerId="LiveId" clId="{186FDB4A-D0D0-446A-9945-6468067BA58C}" dt="2022-10-29T10:41:51.829" v="2"/>
            <ac:spMkLst>
              <pc:docMk/>
              <pc:sldMasterMk cId="3795624097" sldId="2147483648"/>
              <pc:sldLayoutMk cId="3461048897" sldId="2147483652"/>
              <ac:spMk id="4" creationId="{7F7ECFF9-2982-9C7A-EA33-8CED6F29E74C}"/>
            </ac:spMkLst>
          </pc:spChg>
        </pc:sldLayoutChg>
        <pc:sldLayoutChg chg="modSp">
          <pc:chgData name="Yaroslav Zhydyk" userId="feca11449df7c5ed" providerId="LiveId" clId="{186FDB4A-D0D0-446A-9945-6468067BA58C}" dt="2022-10-29T10:41:51.829" v="2"/>
          <pc:sldLayoutMkLst>
            <pc:docMk/>
            <pc:sldMasterMk cId="3795624097" sldId="2147483648"/>
            <pc:sldLayoutMk cId="115164135" sldId="2147483653"/>
          </pc:sldLayoutMkLst>
          <pc:spChg chg="mod">
            <ac:chgData name="Yaroslav Zhydyk" userId="feca11449df7c5ed" providerId="LiveId" clId="{186FDB4A-D0D0-446A-9945-6468067BA58C}" dt="2022-10-29T10:41:51.829" v="2"/>
            <ac:spMkLst>
              <pc:docMk/>
              <pc:sldMasterMk cId="3795624097" sldId="2147483648"/>
              <pc:sldLayoutMk cId="115164135" sldId="2147483653"/>
              <ac:spMk id="2" creationId="{CD87CB2C-BAF0-9A06-2C8D-4742BC5FD251}"/>
            </ac:spMkLst>
          </pc:spChg>
          <pc:spChg chg="mod">
            <ac:chgData name="Yaroslav Zhydyk" userId="feca11449df7c5ed" providerId="LiveId" clId="{186FDB4A-D0D0-446A-9945-6468067BA58C}" dt="2022-10-29T10:41:51.829" v="2"/>
            <ac:spMkLst>
              <pc:docMk/>
              <pc:sldMasterMk cId="3795624097" sldId="2147483648"/>
              <pc:sldLayoutMk cId="115164135" sldId="2147483653"/>
              <ac:spMk id="3" creationId="{5580C134-20CC-ECB6-69DD-1888F8643F82}"/>
            </ac:spMkLst>
          </pc:spChg>
          <pc:spChg chg="mod">
            <ac:chgData name="Yaroslav Zhydyk" userId="feca11449df7c5ed" providerId="LiveId" clId="{186FDB4A-D0D0-446A-9945-6468067BA58C}" dt="2022-10-29T10:41:51.829" v="2"/>
            <ac:spMkLst>
              <pc:docMk/>
              <pc:sldMasterMk cId="3795624097" sldId="2147483648"/>
              <pc:sldLayoutMk cId="115164135" sldId="2147483653"/>
              <ac:spMk id="4" creationId="{5D16D0F3-8DFF-F2E3-59F8-F35AB4BB6FCC}"/>
            </ac:spMkLst>
          </pc:spChg>
          <pc:spChg chg="mod">
            <ac:chgData name="Yaroslav Zhydyk" userId="feca11449df7c5ed" providerId="LiveId" clId="{186FDB4A-D0D0-446A-9945-6468067BA58C}" dt="2022-10-29T10:41:51.829" v="2"/>
            <ac:spMkLst>
              <pc:docMk/>
              <pc:sldMasterMk cId="3795624097" sldId="2147483648"/>
              <pc:sldLayoutMk cId="115164135" sldId="2147483653"/>
              <ac:spMk id="5" creationId="{BF80E65E-9F21-0994-103E-CB0E769C572B}"/>
            </ac:spMkLst>
          </pc:spChg>
          <pc:spChg chg="mod">
            <ac:chgData name="Yaroslav Zhydyk" userId="feca11449df7c5ed" providerId="LiveId" clId="{186FDB4A-D0D0-446A-9945-6468067BA58C}" dt="2022-10-29T10:41:51.829" v="2"/>
            <ac:spMkLst>
              <pc:docMk/>
              <pc:sldMasterMk cId="3795624097" sldId="2147483648"/>
              <pc:sldLayoutMk cId="115164135" sldId="2147483653"/>
              <ac:spMk id="6" creationId="{5BEAF1C2-376B-1AEB-5202-6A95820C15F4}"/>
            </ac:spMkLst>
          </pc:spChg>
        </pc:sldLayoutChg>
        <pc:sldLayoutChg chg="modSp">
          <pc:chgData name="Yaroslav Zhydyk" userId="feca11449df7c5ed" providerId="LiveId" clId="{186FDB4A-D0D0-446A-9945-6468067BA58C}" dt="2022-10-29T10:41:51.829" v="2"/>
          <pc:sldLayoutMkLst>
            <pc:docMk/>
            <pc:sldMasterMk cId="3795624097" sldId="2147483648"/>
            <pc:sldLayoutMk cId="139042274" sldId="2147483656"/>
          </pc:sldLayoutMkLst>
          <pc:spChg chg="mod">
            <ac:chgData name="Yaroslav Zhydyk" userId="feca11449df7c5ed" providerId="LiveId" clId="{186FDB4A-D0D0-446A-9945-6468067BA58C}" dt="2022-10-29T10:41:51.829" v="2"/>
            <ac:spMkLst>
              <pc:docMk/>
              <pc:sldMasterMk cId="3795624097" sldId="2147483648"/>
              <pc:sldLayoutMk cId="139042274" sldId="2147483656"/>
              <ac:spMk id="2" creationId="{3F6AA4A3-6895-48CE-D4E9-3C430BA73533}"/>
            </ac:spMkLst>
          </pc:spChg>
          <pc:spChg chg="mod">
            <ac:chgData name="Yaroslav Zhydyk" userId="feca11449df7c5ed" providerId="LiveId" clId="{186FDB4A-D0D0-446A-9945-6468067BA58C}" dt="2022-10-29T10:41:51.829" v="2"/>
            <ac:spMkLst>
              <pc:docMk/>
              <pc:sldMasterMk cId="3795624097" sldId="2147483648"/>
              <pc:sldLayoutMk cId="139042274" sldId="2147483656"/>
              <ac:spMk id="3" creationId="{A6D5605A-44AC-8A70-5960-9F18BF2B9556}"/>
            </ac:spMkLst>
          </pc:spChg>
          <pc:spChg chg="mod">
            <ac:chgData name="Yaroslav Zhydyk" userId="feca11449df7c5ed" providerId="LiveId" clId="{186FDB4A-D0D0-446A-9945-6468067BA58C}" dt="2022-10-29T10:41:51.829" v="2"/>
            <ac:spMkLst>
              <pc:docMk/>
              <pc:sldMasterMk cId="3795624097" sldId="2147483648"/>
              <pc:sldLayoutMk cId="139042274" sldId="2147483656"/>
              <ac:spMk id="4" creationId="{6BEA10A0-8205-4094-6362-2EEDD8376341}"/>
            </ac:spMkLst>
          </pc:spChg>
        </pc:sldLayoutChg>
        <pc:sldLayoutChg chg="modSp">
          <pc:chgData name="Yaroslav Zhydyk" userId="feca11449df7c5ed" providerId="LiveId" clId="{186FDB4A-D0D0-446A-9945-6468067BA58C}" dt="2022-10-29T10:41:51.829" v="2"/>
          <pc:sldLayoutMkLst>
            <pc:docMk/>
            <pc:sldMasterMk cId="3795624097" sldId="2147483648"/>
            <pc:sldLayoutMk cId="2051874453" sldId="2147483657"/>
          </pc:sldLayoutMkLst>
          <pc:spChg chg="mod">
            <ac:chgData name="Yaroslav Zhydyk" userId="feca11449df7c5ed" providerId="LiveId" clId="{186FDB4A-D0D0-446A-9945-6468067BA58C}" dt="2022-10-29T10:41:51.829" v="2"/>
            <ac:spMkLst>
              <pc:docMk/>
              <pc:sldMasterMk cId="3795624097" sldId="2147483648"/>
              <pc:sldLayoutMk cId="2051874453" sldId="2147483657"/>
              <ac:spMk id="2" creationId="{5A288DEF-EB17-246D-EE37-B86099209F7D}"/>
            </ac:spMkLst>
          </pc:spChg>
          <pc:spChg chg="mod">
            <ac:chgData name="Yaroslav Zhydyk" userId="feca11449df7c5ed" providerId="LiveId" clId="{186FDB4A-D0D0-446A-9945-6468067BA58C}" dt="2022-10-29T10:41:51.829" v="2"/>
            <ac:spMkLst>
              <pc:docMk/>
              <pc:sldMasterMk cId="3795624097" sldId="2147483648"/>
              <pc:sldLayoutMk cId="2051874453" sldId="2147483657"/>
              <ac:spMk id="3" creationId="{60BE2164-4F49-5539-00F5-33C302BA4588}"/>
            </ac:spMkLst>
          </pc:spChg>
          <pc:spChg chg="mod">
            <ac:chgData name="Yaroslav Zhydyk" userId="feca11449df7c5ed" providerId="LiveId" clId="{186FDB4A-D0D0-446A-9945-6468067BA58C}" dt="2022-10-29T10:41:51.829" v="2"/>
            <ac:spMkLst>
              <pc:docMk/>
              <pc:sldMasterMk cId="3795624097" sldId="2147483648"/>
              <pc:sldLayoutMk cId="2051874453" sldId="2147483657"/>
              <ac:spMk id="4" creationId="{FEC75D08-24F3-B33F-15C9-902A470D8D34}"/>
            </ac:spMkLst>
          </pc:spChg>
        </pc:sldLayoutChg>
        <pc:sldLayoutChg chg="modSp">
          <pc:chgData name="Yaroslav Zhydyk" userId="feca11449df7c5ed" providerId="LiveId" clId="{186FDB4A-D0D0-446A-9945-6468067BA58C}" dt="2022-10-29T10:41:51.829" v="2"/>
          <pc:sldLayoutMkLst>
            <pc:docMk/>
            <pc:sldMasterMk cId="3795624097" sldId="2147483648"/>
            <pc:sldLayoutMk cId="2452645975" sldId="2147483659"/>
          </pc:sldLayoutMkLst>
          <pc:spChg chg="mod">
            <ac:chgData name="Yaroslav Zhydyk" userId="feca11449df7c5ed" providerId="LiveId" clId="{186FDB4A-D0D0-446A-9945-6468067BA58C}" dt="2022-10-29T10:41:51.829" v="2"/>
            <ac:spMkLst>
              <pc:docMk/>
              <pc:sldMasterMk cId="3795624097" sldId="2147483648"/>
              <pc:sldLayoutMk cId="2452645975" sldId="2147483659"/>
              <ac:spMk id="2" creationId="{4BA0C6F9-4475-8900-3BA3-2C499FD959A2}"/>
            </ac:spMkLst>
          </pc:spChg>
          <pc:spChg chg="mod">
            <ac:chgData name="Yaroslav Zhydyk" userId="feca11449df7c5ed" providerId="LiveId" clId="{186FDB4A-D0D0-446A-9945-6468067BA58C}" dt="2022-10-29T10:41:51.829" v="2"/>
            <ac:spMkLst>
              <pc:docMk/>
              <pc:sldMasterMk cId="3795624097" sldId="2147483648"/>
              <pc:sldLayoutMk cId="2452645975" sldId="2147483659"/>
              <ac:spMk id="3" creationId="{6884DD03-3035-D9C8-EF1F-E67290FBB022}"/>
            </ac:spMkLst>
          </pc:spChg>
        </pc:sldLayoutChg>
      </pc:sldMasterChg>
      <pc:sldMasterChg chg="addSp delSp modSp mod addSldLayout delSldLayout modSldLayout">
        <pc:chgData name="Yaroslav Zhydyk" userId="feca11449df7c5ed" providerId="LiveId" clId="{186FDB4A-D0D0-446A-9945-6468067BA58C}" dt="2022-10-29T12:58:00.690" v="420"/>
        <pc:sldMasterMkLst>
          <pc:docMk/>
          <pc:sldMasterMk cId="3463494952" sldId="2147483660"/>
        </pc:sldMasterMkLst>
        <pc:spChg chg="mod">
          <ac:chgData name="Yaroslav Zhydyk" userId="feca11449df7c5ed" providerId="LiveId" clId="{186FDB4A-D0D0-446A-9945-6468067BA58C}" dt="2022-10-29T12:58:00.690" v="420"/>
          <ac:spMkLst>
            <pc:docMk/>
            <pc:sldMasterMk cId="3463494952" sldId="2147483660"/>
            <ac:spMk id="2" creationId="{00000000-0000-0000-0000-000000000000}"/>
          </ac:spMkLst>
        </pc:spChg>
        <pc:spChg chg="mod">
          <ac:chgData name="Yaroslav Zhydyk" userId="feca11449df7c5ed" providerId="LiveId" clId="{186FDB4A-D0D0-446A-9945-6468067BA58C}" dt="2022-10-29T12:58:00.690" v="420"/>
          <ac:spMkLst>
            <pc:docMk/>
            <pc:sldMasterMk cId="3463494952" sldId="2147483660"/>
            <ac:spMk id="3" creationId="{00000000-0000-0000-0000-000000000000}"/>
          </ac:spMkLst>
        </pc:spChg>
        <pc:spChg chg="mod">
          <ac:chgData name="Yaroslav Zhydyk" userId="feca11449df7c5ed" providerId="LiveId" clId="{186FDB4A-D0D0-446A-9945-6468067BA58C}" dt="2022-10-29T12:58:00.690" v="420"/>
          <ac:spMkLst>
            <pc:docMk/>
            <pc:sldMasterMk cId="3463494952" sldId="2147483660"/>
            <ac:spMk id="4" creationId="{00000000-0000-0000-0000-000000000000}"/>
          </ac:spMkLst>
        </pc:spChg>
        <pc:spChg chg="mod">
          <ac:chgData name="Yaroslav Zhydyk" userId="feca11449df7c5ed" providerId="LiveId" clId="{186FDB4A-D0D0-446A-9945-6468067BA58C}" dt="2022-10-29T12:58:00.690" v="420"/>
          <ac:spMkLst>
            <pc:docMk/>
            <pc:sldMasterMk cId="3463494952" sldId="2147483660"/>
            <ac:spMk id="5" creationId="{00000000-0000-0000-0000-000000000000}"/>
          </ac:spMkLst>
        </pc:spChg>
        <pc:spChg chg="mod">
          <ac:chgData name="Yaroslav Zhydyk" userId="feca11449df7c5ed" providerId="LiveId" clId="{186FDB4A-D0D0-446A-9945-6468067BA58C}" dt="2022-10-29T12:58:00.690" v="420"/>
          <ac:spMkLst>
            <pc:docMk/>
            <pc:sldMasterMk cId="3463494952" sldId="2147483660"/>
            <ac:spMk id="6" creationId="{00000000-0000-0000-0000-000000000000}"/>
          </ac:spMkLst>
        </pc:spChg>
        <pc:spChg chg="add del mod modVis">
          <ac:chgData name="Yaroslav Zhydyk" userId="feca11449df7c5ed" providerId="LiveId" clId="{186FDB4A-D0D0-446A-9945-6468067BA58C}" dt="2022-10-29T10:41:52.528" v="60"/>
          <ac:spMkLst>
            <pc:docMk/>
            <pc:sldMasterMk cId="3463494952" sldId="2147483660"/>
            <ac:spMk id="7" creationId="{46820A18-6A29-061F-C96F-0F1B4E866C50}"/>
          </ac:spMkLst>
        </pc:spChg>
        <pc:spChg chg="add del mod modVis">
          <ac:chgData name="Yaroslav Zhydyk" userId="feca11449df7c5ed" providerId="LiveId" clId="{186FDB4A-D0D0-446A-9945-6468067BA58C}" dt="2022-10-29T10:43:55.441" v="169"/>
          <ac:spMkLst>
            <pc:docMk/>
            <pc:sldMasterMk cId="3463494952" sldId="2147483660"/>
            <ac:spMk id="9" creationId="{9173D314-72BC-57BF-8577-622CACCFCF4F}"/>
          </ac:spMkLst>
        </pc:spChg>
        <pc:graphicFrameChg chg="add mod ord modVis replST">
          <ac:chgData name="Yaroslav Zhydyk" userId="feca11449df7c5ed" providerId="LiveId" clId="{186FDB4A-D0D0-446A-9945-6468067BA58C}" dt="2022-10-29T12:58:00.690" v="420"/>
          <ac:graphicFrameMkLst>
            <pc:docMk/>
            <pc:sldMasterMk cId="3463494952" sldId="2147483660"/>
            <ac:graphicFrameMk id="8" creationId="{5A62EAB4-D8CB-5A38-1441-CB67CADBF86E}"/>
          </ac:graphicFrameMkLst>
        </pc:graphicFrameChg>
        <pc:sldLayoutChg chg="addSp delSp modSp mod">
          <pc:chgData name="Yaroslav Zhydyk" userId="feca11449df7c5ed" providerId="LiveId" clId="{186FDB4A-D0D0-446A-9945-6468067BA58C}" dt="2022-10-29T12:58:00.690" v="420"/>
          <pc:sldLayoutMkLst>
            <pc:docMk/>
            <pc:sldMasterMk cId="3463494952" sldId="2147483660"/>
            <pc:sldLayoutMk cId="953478930" sldId="2147483661"/>
          </pc:sldLayoutMkLst>
          <pc:spChg chg="del">
            <ac:chgData name="Yaroslav Zhydyk" userId="feca11449df7c5ed" providerId="LiveId" clId="{186FDB4A-D0D0-446A-9945-6468067BA58C}" dt="2022-10-29T10:42:45.917" v="103" actId="478"/>
            <ac:spMkLst>
              <pc:docMk/>
              <pc:sldMasterMk cId="3463494952" sldId="2147483660"/>
              <pc:sldLayoutMk cId="953478930" sldId="2147483661"/>
              <ac:spMk id="2" creationId="{00000000-0000-0000-0000-000000000000}"/>
            </ac:spMkLst>
          </pc:spChg>
          <pc:spChg chg="del">
            <ac:chgData name="Yaroslav Zhydyk" userId="feca11449df7c5ed" providerId="LiveId" clId="{186FDB4A-D0D0-446A-9945-6468067BA58C}" dt="2022-10-29T10:42:45.917" v="103" actId="478"/>
            <ac:spMkLst>
              <pc:docMk/>
              <pc:sldMasterMk cId="3463494952" sldId="2147483660"/>
              <pc:sldLayoutMk cId="953478930" sldId="2147483661"/>
              <ac:spMk id="3" creationId="{00000000-0000-0000-0000-000000000000}"/>
            </ac:spMkLst>
          </pc:spChg>
          <pc:spChg chg="del">
            <ac:chgData name="Yaroslav Zhydyk" userId="feca11449df7c5ed" providerId="LiveId" clId="{186FDB4A-D0D0-446A-9945-6468067BA58C}" dt="2022-10-29T10:42:45.917" v="103" actId="478"/>
            <ac:spMkLst>
              <pc:docMk/>
              <pc:sldMasterMk cId="3463494952" sldId="2147483660"/>
              <pc:sldLayoutMk cId="953478930" sldId="2147483661"/>
              <ac:spMk id="4" creationId="{00000000-0000-0000-0000-000000000000}"/>
            </ac:spMkLst>
          </pc:spChg>
          <pc:spChg chg="del">
            <ac:chgData name="Yaroslav Zhydyk" userId="feca11449df7c5ed" providerId="LiveId" clId="{186FDB4A-D0D0-446A-9945-6468067BA58C}" dt="2022-10-29T10:42:45.917" v="103" actId="478"/>
            <ac:spMkLst>
              <pc:docMk/>
              <pc:sldMasterMk cId="3463494952" sldId="2147483660"/>
              <pc:sldLayoutMk cId="953478930" sldId="2147483661"/>
              <ac:spMk id="5" creationId="{00000000-0000-0000-0000-000000000000}"/>
            </ac:spMkLst>
          </pc:spChg>
          <pc:spChg chg="del">
            <ac:chgData name="Yaroslav Zhydyk" userId="feca11449df7c5ed" providerId="LiveId" clId="{186FDB4A-D0D0-446A-9945-6468067BA58C}" dt="2022-10-29T10:42:45.917" v="103" actId="478"/>
            <ac:spMkLst>
              <pc:docMk/>
              <pc:sldMasterMk cId="3463494952" sldId="2147483660"/>
              <pc:sldLayoutMk cId="953478930" sldId="2147483661"/>
              <ac:spMk id="6" creationId="{00000000-0000-0000-0000-000000000000}"/>
            </ac:spMkLst>
          </pc:spChg>
          <pc:spChg chg="add del">
            <ac:chgData name="Yaroslav Zhydyk" userId="feca11449df7c5ed" providerId="LiveId" clId="{186FDB4A-D0D0-446A-9945-6468067BA58C}" dt="2022-10-29T10:43:29.638" v="125" actId="11529"/>
            <ac:spMkLst>
              <pc:docMk/>
              <pc:sldMasterMk cId="3463494952" sldId="2147483660"/>
              <pc:sldLayoutMk cId="953478930" sldId="2147483661"/>
              <ac:spMk id="8" creationId="{B746244C-38DC-6B5F-95D7-AEC64767881F}"/>
            </ac:spMkLst>
          </pc:spChg>
          <pc:spChg chg="add mod">
            <ac:chgData name="Yaroslav Zhydyk" userId="feca11449df7c5ed" providerId="LiveId" clId="{186FDB4A-D0D0-446A-9945-6468067BA58C}" dt="2022-10-29T12:58:00.690" v="420"/>
            <ac:spMkLst>
              <pc:docMk/>
              <pc:sldMasterMk cId="3463494952" sldId="2147483660"/>
              <pc:sldLayoutMk cId="953478930" sldId="2147483661"/>
              <ac:spMk id="9" creationId="{F8B3AA32-AEC3-491C-164F-DE89B0FDC30B}"/>
            </ac:spMkLst>
          </pc:spChg>
          <pc:graphicFrameChg chg="add mod modVis replST">
            <ac:chgData name="Yaroslav Zhydyk" userId="feca11449df7c5ed" providerId="LiveId" clId="{186FDB4A-D0D0-446A-9945-6468067BA58C}" dt="2022-10-29T12:58:00.690" v="420"/>
            <ac:graphicFrameMkLst>
              <pc:docMk/>
              <pc:sldMasterMk cId="3463494952" sldId="2147483660"/>
              <pc:sldLayoutMk cId="953478930" sldId="2147483661"/>
              <ac:graphicFrameMk id="7" creationId="{43D7CE9C-21BD-5C8E-A9FE-87992F5FAB4B}"/>
            </ac:graphicFrameMkLst>
          </pc:graphicFrameChg>
        </pc:sldLayoutChg>
        <pc:sldLayoutChg chg="modSp add mod modTransition">
          <pc:chgData name="Yaroslav Zhydyk" userId="feca11449df7c5ed" providerId="LiveId" clId="{186FDB4A-D0D0-446A-9945-6468067BA58C}" dt="2022-10-29T12:58:00.690" v="420"/>
          <pc:sldLayoutMkLst>
            <pc:docMk/>
            <pc:sldMasterMk cId="3463494952" sldId="2147483660"/>
            <pc:sldLayoutMk cId="392322286" sldId="2147483662"/>
          </pc:sldLayoutMkLst>
          <pc:spChg chg="mod">
            <ac:chgData name="Yaroslav Zhydyk" userId="feca11449df7c5ed" providerId="LiveId" clId="{186FDB4A-D0D0-446A-9945-6468067BA58C}" dt="2022-10-29T12:58:00.690" v="420"/>
            <ac:spMkLst>
              <pc:docMk/>
              <pc:sldMasterMk cId="3463494952" sldId="2147483660"/>
              <pc:sldLayoutMk cId="392322286" sldId="2147483662"/>
              <ac:spMk id="9" creationId="{F8B3AA32-AEC3-491C-164F-DE89B0FDC30B}"/>
            </ac:spMkLst>
          </pc:spChg>
          <pc:graphicFrameChg chg="mod">
            <ac:chgData name="Yaroslav Zhydyk" userId="feca11449df7c5ed" providerId="LiveId" clId="{186FDB4A-D0D0-446A-9945-6468067BA58C}" dt="2022-10-29T12:58:00.690" v="420"/>
            <ac:graphicFrameMkLst>
              <pc:docMk/>
              <pc:sldMasterMk cId="3463494952" sldId="2147483660"/>
              <pc:sldLayoutMk cId="392322286" sldId="2147483662"/>
              <ac:graphicFrameMk id="7" creationId="{43D7CE9C-21BD-5C8E-A9FE-87992F5FAB4B}"/>
            </ac:graphicFrameMkLst>
          </pc:graphicFrameChg>
        </pc:sldLayoutChg>
        <pc:sldLayoutChg chg="modSp del">
          <pc:chgData name="Yaroslav Zhydyk" userId="feca11449df7c5ed" providerId="LiveId" clId="{186FDB4A-D0D0-446A-9945-6468067BA58C}" dt="2022-10-29T10:42:08.822" v="84" actId="2696"/>
          <pc:sldLayoutMkLst>
            <pc:docMk/>
            <pc:sldMasterMk cId="3463494952" sldId="2147483660"/>
            <pc:sldLayoutMk cId="4279675931" sldId="2147483662"/>
          </pc:sldLayoutMkLst>
        </pc:sldLayoutChg>
        <pc:sldLayoutChg chg="modSp del">
          <pc:chgData name="Yaroslav Zhydyk" userId="feca11449df7c5ed" providerId="LiveId" clId="{186FDB4A-D0D0-446A-9945-6468067BA58C}" dt="2022-10-29T10:42:09.154" v="86" actId="2696"/>
          <pc:sldLayoutMkLst>
            <pc:docMk/>
            <pc:sldMasterMk cId="3463494952" sldId="2147483660"/>
            <pc:sldLayoutMk cId="443708802" sldId="2147483663"/>
          </pc:sldLayoutMkLst>
        </pc:sldLayoutChg>
        <pc:sldLayoutChg chg="modSp del">
          <pc:chgData name="Yaroslav Zhydyk" userId="feca11449df7c5ed" providerId="LiveId" clId="{186FDB4A-D0D0-446A-9945-6468067BA58C}" dt="2022-10-29T10:42:09.523" v="88" actId="2696"/>
          <pc:sldLayoutMkLst>
            <pc:docMk/>
            <pc:sldMasterMk cId="3463494952" sldId="2147483660"/>
            <pc:sldLayoutMk cId="3031831387" sldId="2147483664"/>
          </pc:sldLayoutMkLst>
        </pc:sldLayoutChg>
        <pc:sldLayoutChg chg="modSp del">
          <pc:chgData name="Yaroslav Zhydyk" userId="feca11449df7c5ed" providerId="LiveId" clId="{186FDB4A-D0D0-446A-9945-6468067BA58C}" dt="2022-10-29T10:42:09.855" v="90" actId="2696"/>
          <pc:sldLayoutMkLst>
            <pc:docMk/>
            <pc:sldMasterMk cId="3463494952" sldId="2147483660"/>
            <pc:sldLayoutMk cId="3039250677" sldId="2147483665"/>
          </pc:sldLayoutMkLst>
        </pc:sldLayoutChg>
        <pc:sldLayoutChg chg="modSp del">
          <pc:chgData name="Yaroslav Zhydyk" userId="feca11449df7c5ed" providerId="LiveId" clId="{186FDB4A-D0D0-446A-9945-6468067BA58C}" dt="2022-10-29T10:42:10.205" v="92" actId="2696"/>
          <pc:sldLayoutMkLst>
            <pc:docMk/>
            <pc:sldMasterMk cId="3463494952" sldId="2147483660"/>
            <pc:sldLayoutMk cId="961075186" sldId="2147483666"/>
          </pc:sldLayoutMkLst>
        </pc:sldLayoutChg>
        <pc:sldLayoutChg chg="modSp del">
          <pc:chgData name="Yaroslav Zhydyk" userId="feca11449df7c5ed" providerId="LiveId" clId="{186FDB4A-D0D0-446A-9945-6468067BA58C}" dt="2022-10-29T10:42:10.556" v="94" actId="2696"/>
          <pc:sldLayoutMkLst>
            <pc:docMk/>
            <pc:sldMasterMk cId="3463494952" sldId="2147483660"/>
            <pc:sldLayoutMk cId="3772621187" sldId="2147483667"/>
          </pc:sldLayoutMkLst>
        </pc:sldLayoutChg>
        <pc:sldLayoutChg chg="modSp del">
          <pc:chgData name="Yaroslav Zhydyk" userId="feca11449df7c5ed" providerId="LiveId" clId="{186FDB4A-D0D0-446A-9945-6468067BA58C}" dt="2022-10-29T10:42:10.973" v="96" actId="2696"/>
          <pc:sldLayoutMkLst>
            <pc:docMk/>
            <pc:sldMasterMk cId="3463494952" sldId="2147483660"/>
            <pc:sldLayoutMk cId="707943317" sldId="2147483668"/>
          </pc:sldLayoutMkLst>
        </pc:sldLayoutChg>
        <pc:sldLayoutChg chg="modSp del">
          <pc:chgData name="Yaroslav Zhydyk" userId="feca11449df7c5ed" providerId="LiveId" clId="{186FDB4A-D0D0-446A-9945-6468067BA58C}" dt="2022-10-29T10:42:11.237" v="98" actId="2696"/>
          <pc:sldLayoutMkLst>
            <pc:docMk/>
            <pc:sldMasterMk cId="3463494952" sldId="2147483660"/>
            <pc:sldLayoutMk cId="633934013" sldId="2147483669"/>
          </pc:sldLayoutMkLst>
        </pc:sldLayoutChg>
        <pc:sldLayoutChg chg="modSp del">
          <pc:chgData name="Yaroslav Zhydyk" userId="feca11449df7c5ed" providerId="LiveId" clId="{186FDB4A-D0D0-446A-9945-6468067BA58C}" dt="2022-10-29T10:42:11.687" v="100" actId="2696"/>
          <pc:sldLayoutMkLst>
            <pc:docMk/>
            <pc:sldMasterMk cId="3463494952" sldId="2147483660"/>
            <pc:sldLayoutMk cId="2137727618" sldId="2147483670"/>
          </pc:sldLayoutMkLst>
        </pc:sldLayoutChg>
        <pc:sldLayoutChg chg="modSp del">
          <pc:chgData name="Yaroslav Zhydyk" userId="feca11449df7c5ed" providerId="LiveId" clId="{186FDB4A-D0D0-446A-9945-6468067BA58C}" dt="2022-10-29T10:42:12.104" v="102" actId="2696"/>
          <pc:sldLayoutMkLst>
            <pc:docMk/>
            <pc:sldMasterMk cId="3463494952" sldId="2147483660"/>
            <pc:sldLayoutMk cId="2142407464" sldId="2147483671"/>
          </pc:sldLayoutMkLst>
        </pc:sldLayoutChg>
      </pc:sldMasterChg>
      <pc:sldMasterChg chg="addSp delSp modSp mod delSldLayout modSldLayout">
        <pc:chgData name="Yaroslav Zhydyk" userId="feca11449df7c5ed" providerId="LiveId" clId="{186FDB4A-D0D0-446A-9945-6468067BA58C}" dt="2022-10-29T13:45:44.006" v="1164"/>
        <pc:sldMasterMkLst>
          <pc:docMk/>
          <pc:sldMasterMk cId="1709005174" sldId="2147483663"/>
        </pc:sldMasterMkLst>
        <pc:spChg chg="mod">
          <ac:chgData name="Yaroslav Zhydyk" userId="feca11449df7c5ed" providerId="LiveId" clId="{186FDB4A-D0D0-446A-9945-6468067BA58C}" dt="2022-10-29T12:58:18.809" v="848" actId="948"/>
          <ac:spMkLst>
            <pc:docMk/>
            <pc:sldMasterMk cId="1709005174" sldId="2147483663"/>
            <ac:spMk id="2" creationId="{00000000-0000-0000-0000-000000000000}"/>
          </ac:spMkLst>
        </pc:spChg>
        <pc:spChg chg="add del mod modVis">
          <ac:chgData name="Yaroslav Zhydyk" userId="feca11449df7c5ed" providerId="LiveId" clId="{186FDB4A-D0D0-446A-9945-6468067BA58C}" dt="2022-10-29T12:58:01.248" v="462"/>
          <ac:spMkLst>
            <pc:docMk/>
            <pc:sldMasterMk cId="1709005174" sldId="2147483663"/>
            <ac:spMk id="8" creationId="{17429368-CB58-581F-E84A-065422ADEF27}"/>
          </ac:spMkLst>
        </pc:spChg>
        <pc:spChg chg="add del mod modVis">
          <ac:chgData name="Yaroslav Zhydyk" userId="feca11449df7c5ed" providerId="LiveId" clId="{186FDB4A-D0D0-446A-9945-6468067BA58C}" dt="2022-10-29T12:58:19.034" v="1069"/>
          <ac:spMkLst>
            <pc:docMk/>
            <pc:sldMasterMk cId="1709005174" sldId="2147483663"/>
            <ac:spMk id="9" creationId="{8067F82A-86E0-D525-2F04-39D75B74371E}"/>
          </ac:spMkLst>
        </pc:spChg>
        <pc:graphicFrameChg chg="add mod">
          <ac:chgData name="Yaroslav Zhydyk" userId="feca11449df7c5ed" providerId="LiveId" clId="{186FDB4A-D0D0-446A-9945-6468067BA58C}" dt="2022-10-29T12:58:19.036" v="1071"/>
          <ac:graphicFrameMkLst>
            <pc:docMk/>
            <pc:sldMasterMk cId="1709005174" sldId="2147483663"/>
            <ac:graphicFrameMk id="7" creationId="{571FC2F1-1292-F928-E633-E5BBFA8A46D0}"/>
          </ac:graphicFrameMkLst>
        </pc:graphicFrameChg>
        <pc:sldLayoutChg chg="addSp delSp modSp del mod">
          <pc:chgData name="Yaroslav Zhydyk" userId="feca11449df7c5ed" providerId="LiveId" clId="{186FDB4A-D0D0-446A-9945-6468067BA58C}" dt="2022-10-29T13:45:38.658" v="1143" actId="2696"/>
          <pc:sldLayoutMkLst>
            <pc:docMk/>
            <pc:sldMasterMk cId="1709005174" sldId="2147483663"/>
            <pc:sldLayoutMk cId="2477718418" sldId="2147483664"/>
          </pc:sldLayoutMkLst>
          <pc:spChg chg="mod">
            <ac:chgData name="Yaroslav Zhydyk" userId="feca11449df7c5ed" providerId="LiveId" clId="{186FDB4A-D0D0-446A-9945-6468067BA58C}" dt="2022-10-29T12:58:18.675" v="657" actId="948"/>
            <ac:spMkLst>
              <pc:docMk/>
              <pc:sldMasterMk cId="1709005174" sldId="2147483663"/>
              <pc:sldLayoutMk cId="2477718418" sldId="2147483664"/>
              <ac:spMk id="2" creationId="{00000000-0000-0000-0000-000000000000}"/>
            </ac:spMkLst>
          </pc:spChg>
          <pc:spChg chg="add del mod modVis">
            <ac:chgData name="Yaroslav Zhydyk" userId="feca11449df7c5ed" providerId="LiveId" clId="{186FDB4A-D0D0-446A-9945-6468067BA58C}" dt="2022-10-29T12:58:18.945" v="979"/>
            <ac:spMkLst>
              <pc:docMk/>
              <pc:sldMasterMk cId="1709005174" sldId="2147483663"/>
              <pc:sldLayoutMk cId="2477718418" sldId="2147483664"/>
              <ac:spMk id="7" creationId="{AD5C3228-E62E-0E72-5CC8-5F8E2FB334B9}"/>
            </ac:spMkLst>
          </pc:spChg>
          <pc:graphicFrameChg chg="add mod ord modVis replST">
            <ac:chgData name="Yaroslav Zhydyk" userId="feca11449df7c5ed" providerId="LiveId" clId="{186FDB4A-D0D0-446A-9945-6468067BA58C}" dt="2022-10-29T12:58:18.961" v="995"/>
            <ac:graphicFrameMkLst>
              <pc:docMk/>
              <pc:sldMasterMk cId="1709005174" sldId="2147483663"/>
              <pc:sldLayoutMk cId="2477718418" sldId="2147483664"/>
              <ac:graphicFrameMk id="8" creationId="{28511520-8A2A-9F7B-00DF-48F9C0B7F3FD}"/>
            </ac:graphicFrameMkLst>
          </pc:graphicFrameChg>
        </pc:sldLayoutChg>
        <pc:sldLayoutChg chg="addSp delSp modSp del mod">
          <pc:chgData name="Yaroslav Zhydyk" userId="feca11449df7c5ed" providerId="LiveId" clId="{186FDB4A-D0D0-446A-9945-6468067BA58C}" dt="2022-10-29T13:45:39.027" v="1145" actId="2696"/>
          <pc:sldLayoutMkLst>
            <pc:docMk/>
            <pc:sldMasterMk cId="1709005174" sldId="2147483663"/>
            <pc:sldLayoutMk cId="3449835006" sldId="2147483665"/>
          </pc:sldLayoutMkLst>
          <pc:spChg chg="mod">
            <ac:chgData name="Yaroslav Zhydyk" userId="feca11449df7c5ed" providerId="LiveId" clId="{186FDB4A-D0D0-446A-9945-6468067BA58C}" dt="2022-10-29T12:58:18.786" v="810" actId="948"/>
            <ac:spMkLst>
              <pc:docMk/>
              <pc:sldMasterMk cId="1709005174" sldId="2147483663"/>
              <pc:sldLayoutMk cId="3449835006" sldId="2147483665"/>
              <ac:spMk id="2" creationId="{00000000-0000-0000-0000-000000000000}"/>
            </ac:spMkLst>
          </pc:spChg>
          <pc:spChg chg="add del mod modVis">
            <ac:chgData name="Yaroslav Zhydyk" userId="feca11449df7c5ed" providerId="LiveId" clId="{186FDB4A-D0D0-446A-9945-6468067BA58C}" dt="2022-10-29T12:58:19.014" v="1051"/>
            <ac:spMkLst>
              <pc:docMk/>
              <pc:sldMasterMk cId="1709005174" sldId="2147483663"/>
              <pc:sldLayoutMk cId="3449835006" sldId="2147483665"/>
              <ac:spMk id="7" creationId="{8ECC325E-CE25-27B3-C5AF-AD80271EC3D0}"/>
            </ac:spMkLst>
          </pc:spChg>
          <pc:graphicFrameChg chg="add mod ord modVis replST">
            <ac:chgData name="Yaroslav Zhydyk" userId="feca11449df7c5ed" providerId="LiveId" clId="{186FDB4A-D0D0-446A-9945-6468067BA58C}" dt="2022-10-29T12:58:19.033" v="1067"/>
            <ac:graphicFrameMkLst>
              <pc:docMk/>
              <pc:sldMasterMk cId="1709005174" sldId="2147483663"/>
              <pc:sldLayoutMk cId="3449835006" sldId="2147483665"/>
              <ac:graphicFrameMk id="8" creationId="{874F45DC-C0BC-B16D-9658-ED5E8DB47965}"/>
            </ac:graphicFrameMkLst>
          </pc:graphicFrameChg>
        </pc:sldLayoutChg>
        <pc:sldLayoutChg chg="addSp delSp modSp del mod">
          <pc:chgData name="Yaroslav Zhydyk" userId="feca11449df7c5ed" providerId="LiveId" clId="{186FDB4A-D0D0-446A-9945-6468067BA58C}" dt="2022-10-29T13:45:39.359" v="1147" actId="2696"/>
          <pc:sldLayoutMkLst>
            <pc:docMk/>
            <pc:sldMasterMk cId="1709005174" sldId="2147483663"/>
            <pc:sldLayoutMk cId="952725367" sldId="2147483666"/>
          </pc:sldLayoutMkLst>
          <pc:spChg chg="mod">
            <ac:chgData name="Yaroslav Zhydyk" userId="feca11449df7c5ed" providerId="LiveId" clId="{186FDB4A-D0D0-446A-9945-6468067BA58C}" dt="2022-10-29T12:58:18.506" v="467" actId="948"/>
            <ac:spMkLst>
              <pc:docMk/>
              <pc:sldMasterMk cId="1709005174" sldId="2147483663"/>
              <pc:sldLayoutMk cId="952725367" sldId="2147483666"/>
              <ac:spMk id="2" creationId="{00000000-0000-0000-0000-000000000000}"/>
            </ac:spMkLst>
          </pc:spChg>
          <pc:spChg chg="add del mod modVis">
            <ac:chgData name="Yaroslav Zhydyk" userId="feca11449df7c5ed" providerId="LiveId" clId="{186FDB4A-D0D0-446A-9945-6468067BA58C}" dt="2022-10-29T12:58:18.835" v="889"/>
            <ac:spMkLst>
              <pc:docMk/>
              <pc:sldMasterMk cId="1709005174" sldId="2147483663"/>
              <pc:sldLayoutMk cId="952725367" sldId="2147483666"/>
              <ac:spMk id="7" creationId="{99F8E19C-1A46-345D-F86A-028853F7DD49}"/>
            </ac:spMkLst>
          </pc:spChg>
          <pc:graphicFrameChg chg="add mod ord modVis replST">
            <ac:chgData name="Yaroslav Zhydyk" userId="feca11449df7c5ed" providerId="LiveId" clId="{186FDB4A-D0D0-446A-9945-6468067BA58C}" dt="2022-10-29T12:58:18.880" v="905"/>
            <ac:graphicFrameMkLst>
              <pc:docMk/>
              <pc:sldMasterMk cId="1709005174" sldId="2147483663"/>
              <pc:sldLayoutMk cId="952725367" sldId="2147483666"/>
              <ac:graphicFrameMk id="8" creationId="{D8984B61-2C3C-CB0B-90AB-FE97A9839F7F}"/>
            </ac:graphicFrameMkLst>
          </pc:graphicFrameChg>
        </pc:sldLayoutChg>
        <pc:sldLayoutChg chg="addSp delSp modSp del mod">
          <pc:chgData name="Yaroslav Zhydyk" userId="feca11449df7c5ed" providerId="LiveId" clId="{186FDB4A-D0D0-446A-9945-6468067BA58C}" dt="2022-10-29T13:45:39.676" v="1149" actId="2696"/>
          <pc:sldLayoutMkLst>
            <pc:docMk/>
            <pc:sldMasterMk cId="1709005174" sldId="2147483663"/>
            <pc:sldLayoutMk cId="2205209650" sldId="2147483667"/>
          </pc:sldLayoutMkLst>
          <pc:spChg chg="mod">
            <ac:chgData name="Yaroslav Zhydyk" userId="feca11449df7c5ed" providerId="LiveId" clId="{186FDB4A-D0D0-446A-9945-6468067BA58C}" dt="2022-10-29T12:58:18.563" v="505" actId="948"/>
            <ac:spMkLst>
              <pc:docMk/>
              <pc:sldMasterMk cId="1709005174" sldId="2147483663"/>
              <pc:sldLayoutMk cId="2205209650" sldId="2147483667"/>
              <ac:spMk id="2" creationId="{00000000-0000-0000-0000-000000000000}"/>
            </ac:spMkLst>
          </pc:spChg>
          <pc:spChg chg="add del mod modVis">
            <ac:chgData name="Yaroslav Zhydyk" userId="feca11449df7c5ed" providerId="LiveId" clId="{186FDB4A-D0D0-446A-9945-6468067BA58C}" dt="2022-10-29T12:58:18.881" v="907"/>
            <ac:spMkLst>
              <pc:docMk/>
              <pc:sldMasterMk cId="1709005174" sldId="2147483663"/>
              <pc:sldLayoutMk cId="2205209650" sldId="2147483667"/>
              <ac:spMk id="8" creationId="{72EDA9A0-5E90-34B7-CA2A-1C981346B644}"/>
            </ac:spMkLst>
          </pc:spChg>
          <pc:graphicFrameChg chg="add mod ord modVis replST">
            <ac:chgData name="Yaroslav Zhydyk" userId="feca11449df7c5ed" providerId="LiveId" clId="{186FDB4A-D0D0-446A-9945-6468067BA58C}" dt="2022-10-29T12:58:18.895" v="923"/>
            <ac:graphicFrameMkLst>
              <pc:docMk/>
              <pc:sldMasterMk cId="1709005174" sldId="2147483663"/>
              <pc:sldLayoutMk cId="2205209650" sldId="2147483667"/>
              <ac:graphicFrameMk id="9" creationId="{BD4C8398-1844-B957-6F8E-B275E4D3C21A}"/>
            </ac:graphicFrameMkLst>
          </pc:graphicFrameChg>
        </pc:sldLayoutChg>
        <pc:sldLayoutChg chg="addSp delSp modSp del mod">
          <pc:chgData name="Yaroslav Zhydyk" userId="feca11449df7c5ed" providerId="LiveId" clId="{186FDB4A-D0D0-446A-9945-6468067BA58C}" dt="2022-10-29T13:45:39.977" v="1151" actId="2696"/>
          <pc:sldLayoutMkLst>
            <pc:docMk/>
            <pc:sldMasterMk cId="1709005174" sldId="2147483663"/>
            <pc:sldLayoutMk cId="3409368535" sldId="2147483668"/>
          </pc:sldLayoutMkLst>
          <pc:spChg chg="mod">
            <ac:chgData name="Yaroslav Zhydyk" userId="feca11449df7c5ed" providerId="LiveId" clId="{186FDB4A-D0D0-446A-9945-6468067BA58C}" dt="2022-10-29T12:58:18.625" v="581" actId="948"/>
            <ac:spMkLst>
              <pc:docMk/>
              <pc:sldMasterMk cId="1709005174" sldId="2147483663"/>
              <pc:sldLayoutMk cId="3409368535" sldId="2147483668"/>
              <ac:spMk id="2" creationId="{00000000-0000-0000-0000-000000000000}"/>
            </ac:spMkLst>
          </pc:spChg>
          <pc:spChg chg="add del mod modVis">
            <ac:chgData name="Yaroslav Zhydyk" userId="feca11449df7c5ed" providerId="LiveId" clId="{186FDB4A-D0D0-446A-9945-6468067BA58C}" dt="2022-10-29T12:58:18.916" v="943"/>
            <ac:spMkLst>
              <pc:docMk/>
              <pc:sldMasterMk cId="1709005174" sldId="2147483663"/>
              <pc:sldLayoutMk cId="3409368535" sldId="2147483668"/>
              <ac:spMk id="10" creationId="{7E5D028C-0354-46FD-4B01-92E33CA4F2CF}"/>
            </ac:spMkLst>
          </pc:spChg>
          <pc:graphicFrameChg chg="add mod ord modVis replST">
            <ac:chgData name="Yaroslav Zhydyk" userId="feca11449df7c5ed" providerId="LiveId" clId="{186FDB4A-D0D0-446A-9945-6468067BA58C}" dt="2022-10-29T12:58:18.929" v="959"/>
            <ac:graphicFrameMkLst>
              <pc:docMk/>
              <pc:sldMasterMk cId="1709005174" sldId="2147483663"/>
              <pc:sldLayoutMk cId="3409368535" sldId="2147483668"/>
              <ac:graphicFrameMk id="11" creationId="{1EB6ACD9-0F22-DAFA-B0D4-EDB991C1B34B}"/>
            </ac:graphicFrameMkLst>
          </pc:graphicFrameChg>
        </pc:sldLayoutChg>
        <pc:sldLayoutChg chg="addSp delSp modSp del mod">
          <pc:chgData name="Yaroslav Zhydyk" userId="feca11449df7c5ed" providerId="LiveId" clId="{186FDB4A-D0D0-446A-9945-6468067BA58C}" dt="2022-10-29T13:45:40.277" v="1153" actId="2696"/>
          <pc:sldLayoutMkLst>
            <pc:docMk/>
            <pc:sldMasterMk cId="1709005174" sldId="2147483663"/>
            <pc:sldLayoutMk cId="2592754754" sldId="2147483669"/>
          </pc:sldLayoutMkLst>
          <pc:spChg chg="mod">
            <ac:chgData name="Yaroslav Zhydyk" userId="feca11449df7c5ed" providerId="LiveId" clId="{186FDB4A-D0D0-446A-9945-6468067BA58C}" dt="2022-10-29T12:58:18.705" v="695" actId="948"/>
            <ac:spMkLst>
              <pc:docMk/>
              <pc:sldMasterMk cId="1709005174" sldId="2147483663"/>
              <pc:sldLayoutMk cId="2592754754" sldId="2147483669"/>
              <ac:spMk id="2" creationId="{00000000-0000-0000-0000-000000000000}"/>
            </ac:spMkLst>
          </pc:spChg>
          <pc:spChg chg="add del mod modVis">
            <ac:chgData name="Yaroslav Zhydyk" userId="feca11449df7c5ed" providerId="LiveId" clId="{186FDB4A-D0D0-446A-9945-6468067BA58C}" dt="2022-10-29T12:58:18.962" v="997"/>
            <ac:spMkLst>
              <pc:docMk/>
              <pc:sldMasterMk cId="1709005174" sldId="2147483663"/>
              <pc:sldLayoutMk cId="2592754754" sldId="2147483669"/>
              <ac:spMk id="6" creationId="{EE33D337-1C03-133E-6E61-A3AE9DC180D1}"/>
            </ac:spMkLst>
          </pc:spChg>
          <pc:graphicFrameChg chg="add mod ord modVis replST">
            <ac:chgData name="Yaroslav Zhydyk" userId="feca11449df7c5ed" providerId="LiveId" clId="{186FDB4A-D0D0-446A-9945-6468067BA58C}" dt="2022-10-29T12:58:18.982" v="1013"/>
            <ac:graphicFrameMkLst>
              <pc:docMk/>
              <pc:sldMasterMk cId="1709005174" sldId="2147483663"/>
              <pc:sldLayoutMk cId="2592754754" sldId="2147483669"/>
              <ac:graphicFrameMk id="7" creationId="{9EF35F49-00BA-D75D-6BAB-6480E9FFE6F0}"/>
            </ac:graphicFrameMkLst>
          </pc:graphicFrameChg>
        </pc:sldLayoutChg>
        <pc:sldLayoutChg chg="modSp del">
          <pc:chgData name="Yaroslav Zhydyk" userId="feca11449df7c5ed" providerId="LiveId" clId="{186FDB4A-D0D0-446A-9945-6468067BA58C}" dt="2022-10-29T13:45:40.593" v="1155" actId="2696"/>
          <pc:sldLayoutMkLst>
            <pc:docMk/>
            <pc:sldMasterMk cId="1709005174" sldId="2147483663"/>
            <pc:sldLayoutMk cId="1489045633" sldId="2147483670"/>
          </pc:sldLayoutMkLst>
        </pc:sldLayoutChg>
        <pc:sldLayoutChg chg="addSp delSp modSp del mod">
          <pc:chgData name="Yaroslav Zhydyk" userId="feca11449df7c5ed" providerId="LiveId" clId="{186FDB4A-D0D0-446A-9945-6468067BA58C}" dt="2022-10-29T13:45:40.892" v="1157" actId="2696"/>
          <pc:sldLayoutMkLst>
            <pc:docMk/>
            <pc:sldMasterMk cId="1709005174" sldId="2147483663"/>
            <pc:sldLayoutMk cId="3473504790" sldId="2147483671"/>
          </pc:sldLayoutMkLst>
          <pc:spChg chg="mod">
            <ac:chgData name="Yaroslav Zhydyk" userId="feca11449df7c5ed" providerId="LiveId" clId="{186FDB4A-D0D0-446A-9945-6468067BA58C}" dt="2022-10-29T12:58:18.729" v="733" actId="948"/>
            <ac:spMkLst>
              <pc:docMk/>
              <pc:sldMasterMk cId="1709005174" sldId="2147483663"/>
              <pc:sldLayoutMk cId="3473504790" sldId="2147483671"/>
              <ac:spMk id="2" creationId="{00000000-0000-0000-0000-000000000000}"/>
            </ac:spMkLst>
          </pc:spChg>
          <pc:spChg chg="add del mod modVis">
            <ac:chgData name="Yaroslav Zhydyk" userId="feca11449df7c5ed" providerId="LiveId" clId="{186FDB4A-D0D0-446A-9945-6468067BA58C}" dt="2022-10-29T12:58:18.983" v="1015"/>
            <ac:spMkLst>
              <pc:docMk/>
              <pc:sldMasterMk cId="1709005174" sldId="2147483663"/>
              <pc:sldLayoutMk cId="3473504790" sldId="2147483671"/>
              <ac:spMk id="8" creationId="{E7C3E8D5-DF13-5E73-CB06-889DC7476DE0}"/>
            </ac:spMkLst>
          </pc:spChg>
          <pc:graphicFrameChg chg="add mod ord modVis replST">
            <ac:chgData name="Yaroslav Zhydyk" userId="feca11449df7c5ed" providerId="LiveId" clId="{186FDB4A-D0D0-446A-9945-6468067BA58C}" dt="2022-10-29T12:58:18.998" v="1031"/>
            <ac:graphicFrameMkLst>
              <pc:docMk/>
              <pc:sldMasterMk cId="1709005174" sldId="2147483663"/>
              <pc:sldLayoutMk cId="3473504790" sldId="2147483671"/>
              <ac:graphicFrameMk id="9" creationId="{2A58AE98-2E72-7165-D006-8275DC408277}"/>
            </ac:graphicFrameMkLst>
          </pc:graphicFrameChg>
        </pc:sldLayoutChg>
        <pc:sldLayoutChg chg="addSp delSp modSp del mod">
          <pc:chgData name="Yaroslav Zhydyk" userId="feca11449df7c5ed" providerId="LiveId" clId="{186FDB4A-D0D0-446A-9945-6468067BA58C}" dt="2022-10-29T13:45:41.275" v="1159" actId="2696"/>
          <pc:sldLayoutMkLst>
            <pc:docMk/>
            <pc:sldMasterMk cId="1709005174" sldId="2147483663"/>
            <pc:sldLayoutMk cId="2243056961" sldId="2147483672"/>
          </pc:sldLayoutMkLst>
          <pc:spChg chg="mod">
            <ac:chgData name="Yaroslav Zhydyk" userId="feca11449df7c5ed" providerId="LiveId" clId="{186FDB4A-D0D0-446A-9945-6468067BA58C}" dt="2022-10-29T12:58:18.589" v="543" actId="948"/>
            <ac:spMkLst>
              <pc:docMk/>
              <pc:sldMasterMk cId="1709005174" sldId="2147483663"/>
              <pc:sldLayoutMk cId="2243056961" sldId="2147483672"/>
              <ac:spMk id="2" creationId="{00000000-0000-0000-0000-000000000000}"/>
            </ac:spMkLst>
          </pc:spChg>
          <pc:spChg chg="add del mod modVis">
            <ac:chgData name="Yaroslav Zhydyk" userId="feca11449df7c5ed" providerId="LiveId" clId="{186FDB4A-D0D0-446A-9945-6468067BA58C}" dt="2022-10-29T12:58:18.896" v="925"/>
            <ac:spMkLst>
              <pc:docMk/>
              <pc:sldMasterMk cId="1709005174" sldId="2147483663"/>
              <pc:sldLayoutMk cId="2243056961" sldId="2147483672"/>
              <ac:spMk id="8" creationId="{5F4E4EF7-7EEF-C747-F2BE-91F7E88B461F}"/>
            </ac:spMkLst>
          </pc:spChg>
          <pc:graphicFrameChg chg="add mod ord modVis replST">
            <ac:chgData name="Yaroslav Zhydyk" userId="feca11449df7c5ed" providerId="LiveId" clId="{186FDB4A-D0D0-446A-9945-6468067BA58C}" dt="2022-10-29T12:58:18.916" v="941"/>
            <ac:graphicFrameMkLst>
              <pc:docMk/>
              <pc:sldMasterMk cId="1709005174" sldId="2147483663"/>
              <pc:sldLayoutMk cId="2243056961" sldId="2147483672"/>
              <ac:graphicFrameMk id="9" creationId="{1229197A-D411-83EE-EDE0-B3A612859CD9}"/>
            </ac:graphicFrameMkLst>
          </pc:graphicFrameChg>
        </pc:sldLayoutChg>
        <pc:sldLayoutChg chg="addSp delSp modSp del mod">
          <pc:chgData name="Yaroslav Zhydyk" userId="feca11449df7c5ed" providerId="LiveId" clId="{186FDB4A-D0D0-446A-9945-6468067BA58C}" dt="2022-10-29T13:45:41.645" v="1161" actId="2696"/>
          <pc:sldLayoutMkLst>
            <pc:docMk/>
            <pc:sldMasterMk cId="1709005174" sldId="2147483663"/>
            <pc:sldLayoutMk cId="1699327558" sldId="2147483673"/>
          </pc:sldLayoutMkLst>
          <pc:spChg chg="mod">
            <ac:chgData name="Yaroslav Zhydyk" userId="feca11449df7c5ed" providerId="LiveId" clId="{186FDB4A-D0D0-446A-9945-6468067BA58C}" dt="2022-10-29T12:58:18.650" v="619" actId="948"/>
            <ac:spMkLst>
              <pc:docMk/>
              <pc:sldMasterMk cId="1709005174" sldId="2147483663"/>
              <pc:sldLayoutMk cId="1699327558" sldId="2147483673"/>
              <ac:spMk id="2" creationId="{00000000-0000-0000-0000-000000000000}"/>
            </ac:spMkLst>
          </pc:spChg>
          <pc:spChg chg="add del mod modVis">
            <ac:chgData name="Yaroslav Zhydyk" userId="feca11449df7c5ed" providerId="LiveId" clId="{186FDB4A-D0D0-446A-9945-6468067BA58C}" dt="2022-10-29T12:58:18.930" v="961"/>
            <ac:spMkLst>
              <pc:docMk/>
              <pc:sldMasterMk cId="1709005174" sldId="2147483663"/>
              <pc:sldLayoutMk cId="1699327558" sldId="2147483673"/>
              <ac:spMk id="7" creationId="{8F2FD826-69E9-203A-1E40-B760574102F6}"/>
            </ac:spMkLst>
          </pc:spChg>
          <pc:graphicFrameChg chg="add mod ord modVis replST">
            <ac:chgData name="Yaroslav Zhydyk" userId="feca11449df7c5ed" providerId="LiveId" clId="{186FDB4A-D0D0-446A-9945-6468067BA58C}" dt="2022-10-29T12:58:18.945" v="977"/>
            <ac:graphicFrameMkLst>
              <pc:docMk/>
              <pc:sldMasterMk cId="1709005174" sldId="2147483663"/>
              <pc:sldLayoutMk cId="1699327558" sldId="2147483673"/>
              <ac:graphicFrameMk id="8" creationId="{1838FF33-46CC-627B-2A2A-252B9A5E1ECC}"/>
            </ac:graphicFrameMkLst>
          </pc:graphicFrameChg>
        </pc:sldLayoutChg>
        <pc:sldLayoutChg chg="addSp delSp modSp del mod">
          <pc:chgData name="Yaroslav Zhydyk" userId="feca11449df7c5ed" providerId="LiveId" clId="{186FDB4A-D0D0-446A-9945-6468067BA58C}" dt="2022-10-29T13:45:42.162" v="1163" actId="2696"/>
          <pc:sldLayoutMkLst>
            <pc:docMk/>
            <pc:sldMasterMk cId="1709005174" sldId="2147483663"/>
            <pc:sldLayoutMk cId="2777954138" sldId="2147483674"/>
          </pc:sldLayoutMkLst>
          <pc:spChg chg="mod">
            <ac:chgData name="Yaroslav Zhydyk" userId="feca11449df7c5ed" providerId="LiveId" clId="{186FDB4A-D0D0-446A-9945-6468067BA58C}" dt="2022-10-29T12:58:18.756" v="771" actId="948"/>
            <ac:spMkLst>
              <pc:docMk/>
              <pc:sldMasterMk cId="1709005174" sldId="2147483663"/>
              <pc:sldLayoutMk cId="2777954138" sldId="2147483674"/>
              <ac:spMk id="2" creationId="{00000000-0000-0000-0000-000000000000}"/>
            </ac:spMkLst>
          </pc:spChg>
          <pc:spChg chg="add del mod modVis">
            <ac:chgData name="Yaroslav Zhydyk" userId="feca11449df7c5ed" providerId="LiveId" clId="{186FDB4A-D0D0-446A-9945-6468067BA58C}" dt="2022-10-29T12:58:18.999" v="1033"/>
            <ac:spMkLst>
              <pc:docMk/>
              <pc:sldMasterMk cId="1709005174" sldId="2147483663"/>
              <pc:sldLayoutMk cId="2777954138" sldId="2147483674"/>
              <ac:spMk id="7" creationId="{78D419A1-D40B-829D-BC6B-329AA616921D}"/>
            </ac:spMkLst>
          </pc:spChg>
          <pc:graphicFrameChg chg="add mod ord modVis replST">
            <ac:chgData name="Yaroslav Zhydyk" userId="feca11449df7c5ed" providerId="LiveId" clId="{186FDB4A-D0D0-446A-9945-6468067BA58C}" dt="2022-10-29T12:58:19.013" v="1049"/>
            <ac:graphicFrameMkLst>
              <pc:docMk/>
              <pc:sldMasterMk cId="1709005174" sldId="2147483663"/>
              <pc:sldLayoutMk cId="2777954138" sldId="2147483674"/>
              <ac:graphicFrameMk id="8" creationId="{D5FE33DF-67E1-958F-53B8-ED8739D009B6}"/>
            </ac:graphicFrameMkLst>
          </pc:graphicFrameChg>
        </pc:sldLayoutChg>
        <pc:sldLayoutChg chg="addSp delSp modSp mod">
          <pc:chgData name="Yaroslav Zhydyk" userId="feca11449df7c5ed" providerId="LiveId" clId="{186FDB4A-D0D0-446A-9945-6468067BA58C}" dt="2022-10-29T13:45:29.451" v="1141" actId="2085"/>
          <pc:sldLayoutMkLst>
            <pc:docMk/>
            <pc:sldMasterMk cId="1709005174" sldId="2147483663"/>
            <pc:sldLayoutMk cId="615811165" sldId="2147483675"/>
          </pc:sldLayoutMkLst>
          <pc:spChg chg="add mod">
            <ac:chgData name="Yaroslav Zhydyk" userId="feca11449df7c5ed" providerId="LiveId" clId="{186FDB4A-D0D0-446A-9945-6468067BA58C}" dt="2022-10-29T13:45:29.451" v="1141" actId="2085"/>
            <ac:spMkLst>
              <pc:docMk/>
              <pc:sldMasterMk cId="1709005174" sldId="2147483663"/>
              <pc:sldLayoutMk cId="615811165" sldId="2147483675"/>
              <ac:spMk id="3" creationId="{2739835D-2FB8-2BC0-BB79-BF537C48E4C8}"/>
            </ac:spMkLst>
          </pc:spChg>
          <pc:graphicFrameChg chg="mod">
            <ac:chgData name="Yaroslav Zhydyk" userId="feca11449df7c5ed" providerId="LiveId" clId="{186FDB4A-D0D0-446A-9945-6468067BA58C}" dt="2022-10-29T12:58:19.039" v="1075"/>
            <ac:graphicFrameMkLst>
              <pc:docMk/>
              <pc:sldMasterMk cId="1709005174" sldId="2147483663"/>
              <pc:sldLayoutMk cId="615811165" sldId="2147483675"/>
              <ac:graphicFrameMk id="7" creationId="{43D7CE9C-21BD-5C8E-A9FE-87992F5FAB4B}"/>
            </ac:graphicFrameMkLst>
          </pc:graphicFrameChg>
          <pc:picChg chg="add del mod">
            <ac:chgData name="Yaroslav Zhydyk" userId="feca11449df7c5ed" providerId="LiveId" clId="{186FDB4A-D0D0-446A-9945-6468067BA58C}" dt="2022-10-29T13:42:39.956" v="1085" actId="478"/>
            <ac:picMkLst>
              <pc:docMk/>
              <pc:sldMasterMk cId="1709005174" sldId="2147483663"/>
              <pc:sldLayoutMk cId="615811165" sldId="2147483675"/>
              <ac:picMk id="2" creationId="{24FA9423-714E-575E-6EF0-AC88BAA63A41}"/>
            </ac:picMkLst>
          </pc:picChg>
        </pc:sldLayoutChg>
        <pc:sldLayoutChg chg="addSp modSp mod">
          <pc:chgData name="Yaroslav Zhydyk" userId="feca11449df7c5ed" providerId="LiveId" clId="{186FDB4A-D0D0-446A-9945-6468067BA58C}" dt="2022-10-29T13:45:44.006" v="1164"/>
          <pc:sldLayoutMkLst>
            <pc:docMk/>
            <pc:sldMasterMk cId="1709005174" sldId="2147483663"/>
            <pc:sldLayoutMk cId="3612299126" sldId="2147483676"/>
          </pc:sldLayoutMkLst>
          <pc:spChg chg="add mod">
            <ac:chgData name="Yaroslav Zhydyk" userId="feca11449df7c5ed" providerId="LiveId" clId="{186FDB4A-D0D0-446A-9945-6468067BA58C}" dt="2022-10-29T13:45:44.006" v="1164"/>
            <ac:spMkLst>
              <pc:docMk/>
              <pc:sldMasterMk cId="1709005174" sldId="2147483663"/>
              <pc:sldLayoutMk cId="3612299126" sldId="2147483676"/>
              <ac:spMk id="2" creationId="{061A4290-5CB4-0293-4DCE-B1C4BA484A1E}"/>
            </ac:spMkLst>
          </pc:spChg>
          <pc:graphicFrameChg chg="mod">
            <ac:chgData name="Yaroslav Zhydyk" userId="feca11449df7c5ed" providerId="LiveId" clId="{186FDB4A-D0D0-446A-9945-6468067BA58C}" dt="2022-10-29T12:58:19.038" v="1073"/>
            <ac:graphicFrameMkLst>
              <pc:docMk/>
              <pc:sldMasterMk cId="1709005174" sldId="2147483663"/>
              <pc:sldLayoutMk cId="3612299126" sldId="2147483676"/>
              <ac:graphicFrameMk id="7" creationId="{43D7CE9C-21BD-5C8E-A9FE-87992F5FAB4B}"/>
            </ac:graphicFrameMkLst>
          </pc:graphicFrameChg>
        </pc:sldLayoutChg>
      </pc:sldMasterChg>
      <pc:sldMasterChg chg="addSp delSp modSp mod">
        <pc:chgData name="Yaroslav Zhydyk" userId="feca11449df7c5ed" providerId="LiveId" clId="{186FDB4A-D0D0-446A-9945-6468067BA58C}" dt="2022-10-29T12:57:35.180" v="417"/>
        <pc:sldMasterMkLst>
          <pc:docMk/>
          <pc:sldMasterMk cId="4053188614" sldId="2147483663"/>
        </pc:sldMasterMkLst>
        <pc:spChg chg="mod">
          <ac:chgData name="Yaroslav Zhydyk" userId="feca11449df7c5ed" providerId="LiveId" clId="{186FDB4A-D0D0-446A-9945-6468067BA58C}" dt="2022-10-29T12:57:35.180" v="417"/>
          <ac:spMkLst>
            <pc:docMk/>
            <pc:sldMasterMk cId="4053188614" sldId="2147483663"/>
            <ac:spMk id="2" creationId="{00000000-0000-0000-0000-000000000000}"/>
          </ac:spMkLst>
        </pc:spChg>
        <pc:spChg chg="add del mod modVis">
          <ac:chgData name="Yaroslav Zhydyk" userId="feca11449df7c5ed" providerId="LiveId" clId="{186FDB4A-D0D0-446A-9945-6468067BA58C}" dt="2022-10-29T12:57:35.180" v="417"/>
          <ac:spMkLst>
            <pc:docMk/>
            <pc:sldMasterMk cId="4053188614" sldId="2147483663"/>
            <ac:spMk id="8" creationId="{0433F8DC-D269-9EA9-7465-96AAB88C0591}"/>
          </ac:spMkLst>
        </pc:spChg>
        <pc:graphicFrameChg chg="mod">
          <ac:chgData name="Yaroslav Zhydyk" userId="feca11449df7c5ed" providerId="LiveId" clId="{186FDB4A-D0D0-446A-9945-6468067BA58C}" dt="2022-10-29T12:57:35.180" v="417"/>
          <ac:graphicFrameMkLst>
            <pc:docMk/>
            <pc:sldMasterMk cId="4053188614" sldId="2147483663"/>
            <ac:graphicFrameMk id="7" creationId="{BE629A9F-C26E-5F2C-A905-820C847EB149}"/>
          </ac:graphicFrameMkLst>
        </pc:graphicFrame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B7ACC3-BB39-4DF3-8E0E-E2E3C3D075B8}"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ru-UA"/>
        </a:p>
      </dgm:t>
    </dgm:pt>
    <dgm:pt modelId="{6688F695-27A4-4AA6-AEE0-E9847E054FCB}">
      <dgm:prSet phldrT="[Текст]"/>
      <dgm:spPr/>
      <dgm:t>
        <a:bodyPr/>
        <a:lstStyle/>
        <a:p>
          <a:r>
            <a:rPr lang="uk-UA" dirty="0"/>
            <a:t>ніколи</a:t>
          </a:r>
          <a:endParaRPr lang="ru-UA" dirty="0"/>
        </a:p>
      </dgm:t>
    </dgm:pt>
    <dgm:pt modelId="{9D96C805-64AB-4833-84EF-D180EA6F5283}" type="parTrans" cxnId="{80B29B4F-85CD-4C24-ACA1-2431ED692932}">
      <dgm:prSet/>
      <dgm:spPr/>
      <dgm:t>
        <a:bodyPr/>
        <a:lstStyle/>
        <a:p>
          <a:endParaRPr lang="ru-UA"/>
        </a:p>
      </dgm:t>
    </dgm:pt>
    <dgm:pt modelId="{22FA5912-7903-4E4B-955D-5B1FD04FED15}" type="sibTrans" cxnId="{80B29B4F-85CD-4C24-ACA1-2431ED692932}">
      <dgm:prSet/>
      <dgm:spPr/>
      <dgm:t>
        <a:bodyPr/>
        <a:lstStyle/>
        <a:p>
          <a:endParaRPr lang="ru-UA"/>
        </a:p>
      </dgm:t>
    </dgm:pt>
    <dgm:pt modelId="{25A0F345-D782-4C1F-87FB-A35731A231DF}">
      <dgm:prSet phldrT="[Текст]"/>
      <dgm:spPr/>
      <dgm:t>
        <a:bodyPr/>
        <a:lstStyle/>
        <a:p>
          <a:r>
            <a:rPr lang="uk-UA" dirty="0"/>
            <a:t>ніколи</a:t>
          </a:r>
          <a:endParaRPr lang="ru-UA" dirty="0"/>
        </a:p>
      </dgm:t>
    </dgm:pt>
    <dgm:pt modelId="{CCE911D6-89FD-4C00-AC5A-BDD9FD70361D}" type="parTrans" cxnId="{443175EE-7CE3-43B4-AA8F-AD5D9D60DAAA}">
      <dgm:prSet/>
      <dgm:spPr/>
      <dgm:t>
        <a:bodyPr/>
        <a:lstStyle/>
        <a:p>
          <a:endParaRPr lang="ru-UA"/>
        </a:p>
      </dgm:t>
    </dgm:pt>
    <dgm:pt modelId="{C65A561C-86C3-4323-A162-9DF5B8602F7F}" type="sibTrans" cxnId="{443175EE-7CE3-43B4-AA8F-AD5D9D60DAAA}">
      <dgm:prSet/>
      <dgm:spPr/>
      <dgm:t>
        <a:bodyPr/>
        <a:lstStyle/>
        <a:p>
          <a:endParaRPr lang="ru-UA"/>
        </a:p>
      </dgm:t>
    </dgm:pt>
    <dgm:pt modelId="{476E080D-4E0F-44C7-A90A-3174AD1CF693}">
      <dgm:prSet phldrT="[Текст]"/>
      <dgm:spPr/>
      <dgm:t>
        <a:bodyPr/>
        <a:lstStyle/>
        <a:p>
          <a:r>
            <a:rPr lang="uk-UA" dirty="0"/>
            <a:t>ніколи</a:t>
          </a:r>
          <a:endParaRPr lang="ru-UA" dirty="0"/>
        </a:p>
      </dgm:t>
    </dgm:pt>
    <dgm:pt modelId="{2EA0E167-F210-4DEC-98A6-F3620FE7CD95}" type="parTrans" cxnId="{9D6D1A97-0DD3-4781-8B1F-C66AAACEFB77}">
      <dgm:prSet/>
      <dgm:spPr/>
      <dgm:t>
        <a:bodyPr/>
        <a:lstStyle/>
        <a:p>
          <a:endParaRPr lang="ru-UA"/>
        </a:p>
      </dgm:t>
    </dgm:pt>
    <dgm:pt modelId="{D2E2039B-7921-4A6A-A594-FF0C8114D8A5}" type="sibTrans" cxnId="{9D6D1A97-0DD3-4781-8B1F-C66AAACEFB77}">
      <dgm:prSet/>
      <dgm:spPr/>
      <dgm:t>
        <a:bodyPr/>
        <a:lstStyle/>
        <a:p>
          <a:endParaRPr lang="ru-UA"/>
        </a:p>
      </dgm:t>
    </dgm:pt>
    <dgm:pt modelId="{54E5C5A0-24F6-49FF-820E-9A39CBC94DDE}">
      <dgm:prSet phldrT="[Текст]"/>
      <dgm:spPr/>
      <dgm:t>
        <a:bodyPr/>
        <a:lstStyle/>
        <a:p>
          <a:r>
            <a:rPr lang="uk-UA" dirty="0">
              <a:latin typeface="+mj-lt"/>
            </a:rPr>
            <a:t>Не використовуйте</a:t>
          </a:r>
          <a:br>
            <a:rPr lang="en-US" dirty="0">
              <a:latin typeface="+mj-lt"/>
            </a:rPr>
          </a:br>
          <a:r>
            <a:rPr lang="uk-UA" dirty="0">
              <a:latin typeface="+mj-lt"/>
            </a:rPr>
            <a:t> </a:t>
          </a:r>
          <a:r>
            <a:rPr lang="en-US" b="1" dirty="0">
              <a:latin typeface="+mj-lt"/>
            </a:rPr>
            <a:t>SMART ART </a:t>
          </a:r>
          <a:r>
            <a:rPr lang="uk-UA" dirty="0">
              <a:latin typeface="+mj-lt"/>
            </a:rPr>
            <a:t>ніколи</a:t>
          </a:r>
          <a:endParaRPr lang="ru-UA" dirty="0">
            <a:latin typeface="+mj-lt"/>
          </a:endParaRPr>
        </a:p>
      </dgm:t>
    </dgm:pt>
    <dgm:pt modelId="{5C46B8A9-9896-44C7-8D03-B135180BA891}" type="parTrans" cxnId="{D5930F2E-FC75-4438-8DAB-3C83DC383C52}">
      <dgm:prSet/>
      <dgm:spPr/>
      <dgm:t>
        <a:bodyPr/>
        <a:lstStyle/>
        <a:p>
          <a:endParaRPr lang="ru-UA"/>
        </a:p>
      </dgm:t>
    </dgm:pt>
    <dgm:pt modelId="{3E373760-6B7F-4831-93D9-7AA7CABE1DE1}" type="sibTrans" cxnId="{D5930F2E-FC75-4438-8DAB-3C83DC383C52}">
      <dgm:prSet/>
      <dgm:spPr/>
      <dgm:t>
        <a:bodyPr/>
        <a:lstStyle/>
        <a:p>
          <a:endParaRPr lang="ru-UA"/>
        </a:p>
      </dgm:t>
    </dgm:pt>
    <dgm:pt modelId="{10AFB126-BC12-46F2-B761-9791C79FF384}" type="pres">
      <dgm:prSet presAssocID="{3FB7ACC3-BB39-4DF3-8E0E-E2E3C3D075B8}" presName="Name0" presStyleCnt="0">
        <dgm:presLayoutVars>
          <dgm:chMax val="4"/>
          <dgm:resizeHandles val="exact"/>
        </dgm:presLayoutVars>
      </dgm:prSet>
      <dgm:spPr/>
    </dgm:pt>
    <dgm:pt modelId="{4E5DC313-6B55-4DD1-A079-B5CABB99C562}" type="pres">
      <dgm:prSet presAssocID="{3FB7ACC3-BB39-4DF3-8E0E-E2E3C3D075B8}" presName="ellipse" presStyleLbl="trBgShp" presStyleIdx="0" presStyleCnt="1"/>
      <dgm:spPr/>
    </dgm:pt>
    <dgm:pt modelId="{44896E8F-9D97-43CA-B2CF-E08FC6985B70}" type="pres">
      <dgm:prSet presAssocID="{3FB7ACC3-BB39-4DF3-8E0E-E2E3C3D075B8}" presName="arrow1" presStyleLbl="fgShp" presStyleIdx="0" presStyleCnt="1"/>
      <dgm:spPr/>
    </dgm:pt>
    <dgm:pt modelId="{640F0862-1FD0-4268-863C-F198E5904DFF}" type="pres">
      <dgm:prSet presAssocID="{3FB7ACC3-BB39-4DF3-8E0E-E2E3C3D075B8}" presName="rectangle" presStyleLbl="revTx" presStyleIdx="0" presStyleCnt="1">
        <dgm:presLayoutVars>
          <dgm:bulletEnabled val="1"/>
        </dgm:presLayoutVars>
      </dgm:prSet>
      <dgm:spPr/>
    </dgm:pt>
    <dgm:pt modelId="{C620D4A8-7F57-4230-9F33-8914F41C2A7E}" type="pres">
      <dgm:prSet presAssocID="{25A0F345-D782-4C1F-87FB-A35731A231DF}" presName="item1" presStyleLbl="node1" presStyleIdx="0" presStyleCnt="3">
        <dgm:presLayoutVars>
          <dgm:bulletEnabled val="1"/>
        </dgm:presLayoutVars>
      </dgm:prSet>
      <dgm:spPr/>
    </dgm:pt>
    <dgm:pt modelId="{785DA140-E906-4DC0-92A2-60FF1C587B46}" type="pres">
      <dgm:prSet presAssocID="{476E080D-4E0F-44C7-A90A-3174AD1CF693}" presName="item2" presStyleLbl="node1" presStyleIdx="1" presStyleCnt="3">
        <dgm:presLayoutVars>
          <dgm:bulletEnabled val="1"/>
        </dgm:presLayoutVars>
      </dgm:prSet>
      <dgm:spPr/>
    </dgm:pt>
    <dgm:pt modelId="{01A8E1F6-EBB0-4780-A550-7924134DA84E}" type="pres">
      <dgm:prSet presAssocID="{54E5C5A0-24F6-49FF-820E-9A39CBC94DDE}" presName="item3" presStyleLbl="node1" presStyleIdx="2" presStyleCnt="3">
        <dgm:presLayoutVars>
          <dgm:bulletEnabled val="1"/>
        </dgm:presLayoutVars>
      </dgm:prSet>
      <dgm:spPr/>
    </dgm:pt>
    <dgm:pt modelId="{E4B6DB02-40E6-4873-9EA3-7678C38DFBB8}" type="pres">
      <dgm:prSet presAssocID="{3FB7ACC3-BB39-4DF3-8E0E-E2E3C3D075B8}" presName="funnel" presStyleLbl="trAlignAcc1" presStyleIdx="0" presStyleCnt="1"/>
      <dgm:spPr/>
    </dgm:pt>
  </dgm:ptLst>
  <dgm:cxnLst>
    <dgm:cxn modelId="{D5930F2E-FC75-4438-8DAB-3C83DC383C52}" srcId="{3FB7ACC3-BB39-4DF3-8E0E-E2E3C3D075B8}" destId="{54E5C5A0-24F6-49FF-820E-9A39CBC94DDE}" srcOrd="3" destOrd="0" parTransId="{5C46B8A9-9896-44C7-8D03-B135180BA891}" sibTransId="{3E373760-6B7F-4831-93D9-7AA7CABE1DE1}"/>
    <dgm:cxn modelId="{80B29B4F-85CD-4C24-ACA1-2431ED692932}" srcId="{3FB7ACC3-BB39-4DF3-8E0E-E2E3C3D075B8}" destId="{6688F695-27A4-4AA6-AEE0-E9847E054FCB}" srcOrd="0" destOrd="0" parTransId="{9D96C805-64AB-4833-84EF-D180EA6F5283}" sibTransId="{22FA5912-7903-4E4B-955D-5B1FD04FED15}"/>
    <dgm:cxn modelId="{90DE5453-579D-4AE0-905E-8EAD72368E96}" type="presOf" srcId="{3FB7ACC3-BB39-4DF3-8E0E-E2E3C3D075B8}" destId="{10AFB126-BC12-46F2-B761-9791C79FF384}" srcOrd="0" destOrd="0" presId="urn:microsoft.com/office/officeart/2005/8/layout/funnel1"/>
    <dgm:cxn modelId="{9D6D1A97-0DD3-4781-8B1F-C66AAACEFB77}" srcId="{3FB7ACC3-BB39-4DF3-8E0E-E2E3C3D075B8}" destId="{476E080D-4E0F-44C7-A90A-3174AD1CF693}" srcOrd="2" destOrd="0" parTransId="{2EA0E167-F210-4DEC-98A6-F3620FE7CD95}" sibTransId="{D2E2039B-7921-4A6A-A594-FF0C8114D8A5}"/>
    <dgm:cxn modelId="{19244DA4-089C-462C-87D3-E7ACFFC48197}" type="presOf" srcId="{25A0F345-D782-4C1F-87FB-A35731A231DF}" destId="{785DA140-E906-4DC0-92A2-60FF1C587B46}" srcOrd="0" destOrd="0" presId="urn:microsoft.com/office/officeart/2005/8/layout/funnel1"/>
    <dgm:cxn modelId="{479C85C0-FB05-4CC5-8894-813C7206DFBC}" type="presOf" srcId="{54E5C5A0-24F6-49FF-820E-9A39CBC94DDE}" destId="{640F0862-1FD0-4268-863C-F198E5904DFF}" srcOrd="0" destOrd="0" presId="urn:microsoft.com/office/officeart/2005/8/layout/funnel1"/>
    <dgm:cxn modelId="{54C912D7-83EE-4ECC-B2B6-D6FD874B2EF2}" type="presOf" srcId="{476E080D-4E0F-44C7-A90A-3174AD1CF693}" destId="{C620D4A8-7F57-4230-9F33-8914F41C2A7E}" srcOrd="0" destOrd="0" presId="urn:microsoft.com/office/officeart/2005/8/layout/funnel1"/>
    <dgm:cxn modelId="{2655DCE5-8BF6-4747-A654-0C1ED81F51EB}" type="presOf" srcId="{6688F695-27A4-4AA6-AEE0-E9847E054FCB}" destId="{01A8E1F6-EBB0-4780-A550-7924134DA84E}" srcOrd="0" destOrd="0" presId="urn:microsoft.com/office/officeart/2005/8/layout/funnel1"/>
    <dgm:cxn modelId="{443175EE-7CE3-43B4-AA8F-AD5D9D60DAAA}" srcId="{3FB7ACC3-BB39-4DF3-8E0E-E2E3C3D075B8}" destId="{25A0F345-D782-4C1F-87FB-A35731A231DF}" srcOrd="1" destOrd="0" parTransId="{CCE911D6-89FD-4C00-AC5A-BDD9FD70361D}" sibTransId="{C65A561C-86C3-4323-A162-9DF5B8602F7F}"/>
    <dgm:cxn modelId="{5EE1E39B-285F-4CFD-B914-14C2B4064B12}" type="presParOf" srcId="{10AFB126-BC12-46F2-B761-9791C79FF384}" destId="{4E5DC313-6B55-4DD1-A079-B5CABB99C562}" srcOrd="0" destOrd="0" presId="urn:microsoft.com/office/officeart/2005/8/layout/funnel1"/>
    <dgm:cxn modelId="{ECF9C5AD-5680-4E51-BDED-FF77859F2AD0}" type="presParOf" srcId="{10AFB126-BC12-46F2-B761-9791C79FF384}" destId="{44896E8F-9D97-43CA-B2CF-E08FC6985B70}" srcOrd="1" destOrd="0" presId="urn:microsoft.com/office/officeart/2005/8/layout/funnel1"/>
    <dgm:cxn modelId="{0784DA5A-B51E-4225-8852-4C281AA30335}" type="presParOf" srcId="{10AFB126-BC12-46F2-B761-9791C79FF384}" destId="{640F0862-1FD0-4268-863C-F198E5904DFF}" srcOrd="2" destOrd="0" presId="urn:microsoft.com/office/officeart/2005/8/layout/funnel1"/>
    <dgm:cxn modelId="{245BD1EF-0181-4D4A-B7D9-C972D6FB0468}" type="presParOf" srcId="{10AFB126-BC12-46F2-B761-9791C79FF384}" destId="{C620D4A8-7F57-4230-9F33-8914F41C2A7E}" srcOrd="3" destOrd="0" presId="urn:microsoft.com/office/officeart/2005/8/layout/funnel1"/>
    <dgm:cxn modelId="{9FE10058-7E51-4522-BE84-156FE5E84080}" type="presParOf" srcId="{10AFB126-BC12-46F2-B761-9791C79FF384}" destId="{785DA140-E906-4DC0-92A2-60FF1C587B46}" srcOrd="4" destOrd="0" presId="urn:microsoft.com/office/officeart/2005/8/layout/funnel1"/>
    <dgm:cxn modelId="{CCDC2F84-BF85-4E15-AC2D-003AE52923DC}" type="presParOf" srcId="{10AFB126-BC12-46F2-B761-9791C79FF384}" destId="{01A8E1F6-EBB0-4780-A550-7924134DA84E}" srcOrd="5" destOrd="0" presId="urn:microsoft.com/office/officeart/2005/8/layout/funnel1"/>
    <dgm:cxn modelId="{2C423750-5402-431E-B1CE-A5CFB14B6ABF}" type="presParOf" srcId="{10AFB126-BC12-46F2-B761-9791C79FF384}" destId="{E4B6DB02-40E6-4873-9EA3-7678C38DFBB8}"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5DC313-6B55-4DD1-A079-B5CABB99C562}">
      <dsp:nvSpPr>
        <dsp:cNvPr id="0" name=""/>
        <dsp:cNvSpPr/>
      </dsp:nvSpPr>
      <dsp:spPr>
        <a:xfrm>
          <a:off x="1872826" y="220133"/>
          <a:ext cx="4368800" cy="1517226"/>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4896E8F-9D97-43CA-B2CF-E08FC6985B70}">
      <dsp:nvSpPr>
        <dsp:cNvPr id="0" name=""/>
        <dsp:cNvSpPr/>
      </dsp:nvSpPr>
      <dsp:spPr>
        <a:xfrm>
          <a:off x="3640666" y="3935306"/>
          <a:ext cx="846666" cy="541866"/>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0F0862-1FD0-4268-863C-F198E5904DFF}">
      <dsp:nvSpPr>
        <dsp:cNvPr id="0" name=""/>
        <dsp:cNvSpPr/>
      </dsp:nvSpPr>
      <dsp:spPr>
        <a:xfrm>
          <a:off x="2031999" y="4368800"/>
          <a:ext cx="4064000" cy="1016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2024" tIns="192024" rIns="192024" bIns="192024" numCol="1" spcCol="1270" anchor="ctr" anchorCtr="0">
          <a:noAutofit/>
        </a:bodyPr>
        <a:lstStyle/>
        <a:p>
          <a:pPr marL="0" lvl="0" indent="0" algn="ctr" defTabSz="1200150">
            <a:lnSpc>
              <a:spcPct val="90000"/>
            </a:lnSpc>
            <a:spcBef>
              <a:spcPct val="0"/>
            </a:spcBef>
            <a:spcAft>
              <a:spcPct val="35000"/>
            </a:spcAft>
            <a:buNone/>
          </a:pPr>
          <a:r>
            <a:rPr lang="uk-UA" sz="2700" kern="1200" dirty="0">
              <a:latin typeface="+mj-lt"/>
            </a:rPr>
            <a:t>Не використовуйте</a:t>
          </a:r>
          <a:br>
            <a:rPr lang="en-US" sz="2700" kern="1200" dirty="0">
              <a:latin typeface="+mj-lt"/>
            </a:rPr>
          </a:br>
          <a:r>
            <a:rPr lang="uk-UA" sz="2700" kern="1200" dirty="0">
              <a:latin typeface="+mj-lt"/>
            </a:rPr>
            <a:t> </a:t>
          </a:r>
          <a:r>
            <a:rPr lang="en-US" sz="2700" b="1" kern="1200" dirty="0">
              <a:latin typeface="+mj-lt"/>
            </a:rPr>
            <a:t>SMART ART </a:t>
          </a:r>
          <a:r>
            <a:rPr lang="uk-UA" sz="2700" kern="1200" dirty="0">
              <a:latin typeface="+mj-lt"/>
            </a:rPr>
            <a:t>ніколи</a:t>
          </a:r>
          <a:endParaRPr lang="ru-UA" sz="2700" kern="1200" dirty="0">
            <a:latin typeface="+mj-lt"/>
          </a:endParaRPr>
        </a:p>
      </dsp:txBody>
      <dsp:txXfrm>
        <a:off x="2031999" y="4368800"/>
        <a:ext cx="4064000" cy="1016000"/>
      </dsp:txXfrm>
    </dsp:sp>
    <dsp:sp modelId="{C620D4A8-7F57-4230-9F33-8914F41C2A7E}">
      <dsp:nvSpPr>
        <dsp:cNvPr id="0" name=""/>
        <dsp:cNvSpPr/>
      </dsp:nvSpPr>
      <dsp:spPr>
        <a:xfrm>
          <a:off x="3461173" y="1854538"/>
          <a:ext cx="1524000" cy="15240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uk-UA" sz="2500" kern="1200" dirty="0"/>
            <a:t>ніколи</a:t>
          </a:r>
          <a:endParaRPr lang="ru-UA" sz="2500" kern="1200" dirty="0"/>
        </a:p>
      </dsp:txBody>
      <dsp:txXfrm>
        <a:off x="3684358" y="2077723"/>
        <a:ext cx="1077630" cy="1077630"/>
      </dsp:txXfrm>
    </dsp:sp>
    <dsp:sp modelId="{785DA140-E906-4DC0-92A2-60FF1C587B46}">
      <dsp:nvSpPr>
        <dsp:cNvPr id="0" name=""/>
        <dsp:cNvSpPr/>
      </dsp:nvSpPr>
      <dsp:spPr>
        <a:xfrm>
          <a:off x="2370666" y="711200"/>
          <a:ext cx="1524000" cy="15240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uk-UA" sz="2500" kern="1200" dirty="0"/>
            <a:t>ніколи</a:t>
          </a:r>
          <a:endParaRPr lang="ru-UA" sz="2500" kern="1200" dirty="0"/>
        </a:p>
      </dsp:txBody>
      <dsp:txXfrm>
        <a:off x="2593851" y="934385"/>
        <a:ext cx="1077630" cy="1077630"/>
      </dsp:txXfrm>
    </dsp:sp>
    <dsp:sp modelId="{01A8E1F6-EBB0-4780-A550-7924134DA84E}">
      <dsp:nvSpPr>
        <dsp:cNvPr id="0" name=""/>
        <dsp:cNvSpPr/>
      </dsp:nvSpPr>
      <dsp:spPr>
        <a:xfrm>
          <a:off x="3928533" y="342730"/>
          <a:ext cx="1524000" cy="15240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uk-UA" sz="2500" kern="1200" dirty="0"/>
            <a:t>ніколи</a:t>
          </a:r>
          <a:endParaRPr lang="ru-UA" sz="2500" kern="1200" dirty="0"/>
        </a:p>
      </dsp:txBody>
      <dsp:txXfrm>
        <a:off x="4151718" y="565915"/>
        <a:ext cx="1077630" cy="1077630"/>
      </dsp:txXfrm>
    </dsp:sp>
    <dsp:sp modelId="{E4B6DB02-40E6-4873-9EA3-7678C38DFBB8}">
      <dsp:nvSpPr>
        <dsp:cNvPr id="0" name=""/>
        <dsp:cNvSpPr/>
      </dsp:nvSpPr>
      <dsp:spPr>
        <a:xfrm>
          <a:off x="1693333" y="33866"/>
          <a:ext cx="4741333" cy="3793066"/>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UA"/>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ED70F7-7BA7-4CBF-8C7F-CA90D7A00B83}" type="datetimeFigureOut">
              <a:rPr lang="ru-UA" smtClean="0"/>
              <a:t>09.09.2023</a:t>
            </a:fld>
            <a:endParaRPr lang="ru-UA"/>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UA"/>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UA"/>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UA"/>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3E961A-D0BE-4B31-BF65-115F49C5E8D7}" type="slidenum">
              <a:rPr lang="ru-UA" smtClean="0"/>
              <a:t>‹№›</a:t>
            </a:fld>
            <a:endParaRPr lang="ru-UA"/>
          </a:p>
        </p:txBody>
      </p:sp>
    </p:spTree>
    <p:extLst>
      <p:ext uri="{BB962C8B-B14F-4D97-AF65-F5344CB8AC3E}">
        <p14:creationId xmlns:p14="http://schemas.microsoft.com/office/powerpoint/2010/main" val="287248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Слайд з контентом">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43D7CE9C-21BD-5C8E-A9FE-87992F5FAB4B}"/>
              </a:ext>
            </a:extLst>
          </p:cNvPr>
          <p:cNvGraphicFramePr>
            <a:graphicFrameLocks noChangeAspect="1"/>
          </p:cNvGraphicFramePr>
          <p:nvPr userDrawn="1">
            <p:custDataLst>
              <p:tags r:id="rId1"/>
            </p:custDataLst>
            <p:extLst>
              <p:ext uri="{D42A27DB-BD31-4B8C-83A1-F6EECF244321}">
                <p14:modId xmlns:p14="http://schemas.microsoft.com/office/powerpoint/2010/main" val="2454454685"/>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Объект 6" hidden="1">
                        <a:extLst>
                          <a:ext uri="{FF2B5EF4-FFF2-40B4-BE49-F238E27FC236}">
                            <a16:creationId xmlns:a16="http://schemas.microsoft.com/office/drawing/2014/main" id="{43D7CE9C-21BD-5C8E-A9FE-87992F5FAB4B}"/>
                          </a:ext>
                        </a:extLst>
                      </p:cNvPr>
                      <p:cNvPicPr/>
                      <p:nvPr/>
                    </p:nvPicPr>
                    <p:blipFill>
                      <a:blip r:embed="rId4"/>
                      <a:stretch>
                        <a:fillRect/>
                      </a:stretch>
                    </p:blipFill>
                    <p:spPr>
                      <a:xfrm>
                        <a:off x="2116" y="1588"/>
                        <a:ext cx="2117" cy="1588"/>
                      </a:xfrm>
                      <a:prstGeom prst="rect">
                        <a:avLst/>
                      </a:prstGeom>
                    </p:spPr>
                  </p:pic>
                </p:oleObj>
              </mc:Fallback>
            </mc:AlternateContent>
          </a:graphicData>
        </a:graphic>
      </p:graphicFrame>
      <p:sp>
        <p:nvSpPr>
          <p:cNvPr id="9" name="Текст 8">
            <a:extLst>
              <a:ext uri="{FF2B5EF4-FFF2-40B4-BE49-F238E27FC236}">
                <a16:creationId xmlns:a16="http://schemas.microsoft.com/office/drawing/2014/main" id="{F8B3AA32-AEC3-491C-164F-DE89B0FDC30B}"/>
              </a:ext>
            </a:extLst>
          </p:cNvPr>
          <p:cNvSpPr>
            <a:spLocks noGrp="1"/>
          </p:cNvSpPr>
          <p:nvPr>
            <p:ph type="body" sz="quarter" idx="10" hasCustomPrompt="1"/>
          </p:nvPr>
        </p:nvSpPr>
        <p:spPr>
          <a:xfrm>
            <a:off x="814919" y="559106"/>
            <a:ext cx="10562167" cy="1080000"/>
          </a:xfrm>
        </p:spPr>
        <p:txBody>
          <a:bodyPr lIns="0" tIns="0" rIns="0" bIns="0" anchor="t">
            <a:noAutofit/>
          </a:bodyPr>
          <a:lstStyle>
            <a:lvl1pPr marL="0" indent="0">
              <a:lnSpc>
                <a:spcPct val="100000"/>
              </a:lnSpc>
              <a:spcBef>
                <a:spcPts val="0"/>
              </a:spcBef>
              <a:spcAft>
                <a:spcPts val="0"/>
              </a:spcAft>
              <a:buNone/>
              <a:defRPr sz="32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ru-RU" dirty="0"/>
              <a:t>Заголовок для </a:t>
            </a:r>
            <a:r>
              <a:rPr lang="ru-RU" dirty="0" err="1"/>
              <a:t>дуже</a:t>
            </a:r>
            <a:r>
              <a:rPr lang="ru-RU" dirty="0"/>
              <a:t> </a:t>
            </a:r>
            <a:r>
              <a:rPr lang="ru-RU" dirty="0" err="1"/>
              <a:t>розумного</a:t>
            </a:r>
            <a:r>
              <a:rPr lang="ru-RU" dirty="0"/>
              <a:t> слайду</a:t>
            </a:r>
            <a:endParaRPr lang="ru-UA" dirty="0"/>
          </a:p>
        </p:txBody>
      </p:sp>
      <p:sp>
        <p:nvSpPr>
          <p:cNvPr id="3" name="Овал 2">
            <a:extLst>
              <a:ext uri="{FF2B5EF4-FFF2-40B4-BE49-F238E27FC236}">
                <a16:creationId xmlns:a16="http://schemas.microsoft.com/office/drawing/2014/main" id="{2739835D-2FB8-2BC0-BB79-BF537C48E4C8}"/>
              </a:ext>
            </a:extLst>
          </p:cNvPr>
          <p:cNvSpPr/>
          <p:nvPr userDrawn="1"/>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615811165"/>
      </p:ext>
    </p:extLst>
  </p:cSld>
  <p:clrMapOvr>
    <a:masterClrMapping/>
  </p:clrMapOvr>
  <p:extLst>
    <p:ext uri="{DCECCB84-F9BA-43D5-87BE-67443E8EF086}">
      <p15:sldGuideLst xmlns:p15="http://schemas.microsoft.com/office/powerpoint/2012/main">
        <p15:guide id="1" orient="horz" pos="346">
          <p15:clr>
            <a:srgbClr val="FBAE40"/>
          </p15:clr>
        </p15:guide>
        <p15:guide id="2" pos="513">
          <p15:clr>
            <a:srgbClr val="FBAE40"/>
          </p15:clr>
        </p15:guide>
        <p15:guide id="3" pos="7167">
          <p15:clr>
            <a:srgbClr val="FBAE40"/>
          </p15:clr>
        </p15:guide>
        <p15:guide id="4" orient="horz" pos="3974">
          <p15:clr>
            <a:srgbClr val="FBAE40"/>
          </p15:clr>
        </p15:guide>
        <p15:guide id="5" orient="horz" pos="1026">
          <p15:clr>
            <a:srgbClr val="FBAE40"/>
          </p15:clr>
        </p15:guide>
        <p15:guide id="6" orient="horz" pos="1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Слайд з одною фразою">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43D7CE9C-21BD-5C8E-A9FE-87992F5FAB4B}"/>
              </a:ext>
            </a:extLst>
          </p:cNvPr>
          <p:cNvGraphicFramePr>
            <a:graphicFrameLocks noChangeAspect="1"/>
          </p:cNvGraphicFramePr>
          <p:nvPr userDrawn="1">
            <p:custDataLst>
              <p:tags r:id="rId1"/>
            </p:custDataLst>
            <p:extLst>
              <p:ext uri="{D42A27DB-BD31-4B8C-83A1-F6EECF244321}">
                <p14:modId xmlns:p14="http://schemas.microsoft.com/office/powerpoint/2010/main" val="3875843098"/>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7" name="Объект 6" hidden="1">
                        <a:extLst>
                          <a:ext uri="{FF2B5EF4-FFF2-40B4-BE49-F238E27FC236}">
                            <a16:creationId xmlns:a16="http://schemas.microsoft.com/office/drawing/2014/main" id="{43D7CE9C-21BD-5C8E-A9FE-87992F5FAB4B}"/>
                          </a:ext>
                        </a:extLst>
                      </p:cNvPr>
                      <p:cNvPicPr/>
                      <p:nvPr/>
                    </p:nvPicPr>
                    <p:blipFill>
                      <a:blip r:embed="rId4"/>
                      <a:stretch>
                        <a:fillRect/>
                      </a:stretch>
                    </p:blipFill>
                    <p:spPr>
                      <a:xfrm>
                        <a:off x="2116" y="1588"/>
                        <a:ext cx="2117" cy="1588"/>
                      </a:xfrm>
                      <a:prstGeom prst="rect">
                        <a:avLst/>
                      </a:prstGeom>
                    </p:spPr>
                  </p:pic>
                </p:oleObj>
              </mc:Fallback>
            </mc:AlternateContent>
          </a:graphicData>
        </a:graphic>
      </p:graphicFrame>
      <p:sp>
        <p:nvSpPr>
          <p:cNvPr id="9" name="Текст 8">
            <a:extLst>
              <a:ext uri="{FF2B5EF4-FFF2-40B4-BE49-F238E27FC236}">
                <a16:creationId xmlns:a16="http://schemas.microsoft.com/office/drawing/2014/main" id="{F8B3AA32-AEC3-491C-164F-DE89B0FDC30B}"/>
              </a:ext>
            </a:extLst>
          </p:cNvPr>
          <p:cNvSpPr>
            <a:spLocks noGrp="1"/>
          </p:cNvSpPr>
          <p:nvPr>
            <p:ph type="body" sz="quarter" idx="10" hasCustomPrompt="1"/>
          </p:nvPr>
        </p:nvSpPr>
        <p:spPr>
          <a:xfrm>
            <a:off x="814919" y="2231923"/>
            <a:ext cx="10562167" cy="2113014"/>
          </a:xfrm>
        </p:spPr>
        <p:txBody>
          <a:bodyPr lIns="0" tIns="0" rIns="0" bIns="0" anchor="ctr">
            <a:noAutofit/>
          </a:bodyPr>
          <a:lstStyle>
            <a:lvl1pPr marL="0" indent="0">
              <a:lnSpc>
                <a:spcPct val="100000"/>
              </a:lnSpc>
              <a:spcBef>
                <a:spcPts val="0"/>
              </a:spcBef>
              <a:spcAft>
                <a:spcPts val="1200"/>
              </a:spcAft>
              <a:buNone/>
              <a:defRPr sz="32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ru-RU" dirty="0" err="1"/>
              <a:t>Дуже</a:t>
            </a:r>
            <a:r>
              <a:rPr lang="ru-RU" dirty="0"/>
              <a:t> </a:t>
            </a:r>
            <a:r>
              <a:rPr lang="ru-RU" dirty="0" err="1"/>
              <a:t>розумна</a:t>
            </a:r>
            <a:r>
              <a:rPr lang="ru-RU" dirty="0"/>
              <a:t> фраза</a:t>
            </a:r>
            <a:endParaRPr lang="ru-UA" dirty="0"/>
          </a:p>
        </p:txBody>
      </p:sp>
      <p:sp>
        <p:nvSpPr>
          <p:cNvPr id="2" name="Овал 1">
            <a:extLst>
              <a:ext uri="{FF2B5EF4-FFF2-40B4-BE49-F238E27FC236}">
                <a16:creationId xmlns:a16="http://schemas.microsoft.com/office/drawing/2014/main" id="{061A4290-5CB4-0293-4DCE-B1C4BA484A1E}"/>
              </a:ext>
            </a:extLst>
          </p:cNvPr>
          <p:cNvSpPr/>
          <p:nvPr userDrawn="1"/>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612299126"/>
      </p:ext>
    </p:extLst>
  </p:cSld>
  <p:clrMapOvr>
    <a:masterClrMapping/>
  </p:clrMapOvr>
  <p:extLst>
    <p:ext uri="{DCECCB84-F9BA-43D5-87BE-67443E8EF086}">
      <p15:sldGuideLst xmlns:p15="http://schemas.microsoft.com/office/powerpoint/2012/main">
        <p15:guide id="1" orient="horz" pos="346">
          <p15:clr>
            <a:srgbClr val="FBAE40"/>
          </p15:clr>
        </p15:guide>
        <p15:guide id="2" pos="513">
          <p15:clr>
            <a:srgbClr val="FBAE40"/>
          </p15:clr>
        </p15:guide>
        <p15:guide id="3" pos="7167">
          <p15:clr>
            <a:srgbClr val="FBAE40"/>
          </p15:clr>
        </p15:guide>
        <p15:guide id="4" orient="horz" pos="397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1_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853617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Типовий слайд 1">
    <p:spTree>
      <p:nvGrpSpPr>
        <p:cNvPr id="1" name=""/>
        <p:cNvGrpSpPr/>
        <p:nvPr/>
      </p:nvGrpSpPr>
      <p:grpSpPr>
        <a:xfrm>
          <a:off x="0" y="0"/>
          <a:ext cx="0" cy="0"/>
          <a:chOff x="0" y="0"/>
          <a:chExt cx="0" cy="0"/>
        </a:xfrm>
      </p:grpSpPr>
      <p:graphicFrame>
        <p:nvGraphicFramePr>
          <p:cNvPr id="3" name="Об'єкт 2" hidden="1">
            <a:extLst>
              <a:ext uri="{FF2B5EF4-FFF2-40B4-BE49-F238E27FC236}">
                <a16:creationId xmlns:a16="http://schemas.microsoft.com/office/drawing/2014/main" id="{88E1AFB8-7400-426C-A667-6C5992EA066B}"/>
              </a:ext>
            </a:extLst>
          </p:cNvPr>
          <p:cNvGraphicFramePr>
            <a:graphicFrameLocks noChangeAspect="1"/>
          </p:cNvGraphicFramePr>
          <p:nvPr userDrawn="1">
            <p:custDataLst>
              <p:tags r:id="rId1"/>
            </p:custDataLst>
            <p:extLst>
              <p:ext uri="{D42A27DB-BD31-4B8C-83A1-F6EECF244321}">
                <p14:modId xmlns:p14="http://schemas.microsoft.com/office/powerpoint/2010/main" val="152371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Об'єкт 2" hidden="1">
                        <a:extLst>
                          <a:ext uri="{FF2B5EF4-FFF2-40B4-BE49-F238E27FC236}">
                            <a16:creationId xmlns:a16="http://schemas.microsoft.com/office/drawing/2014/main" id="{88E1AFB8-7400-426C-A667-6C5992EA06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Місце для тексту 15">
            <a:extLst>
              <a:ext uri="{FF2B5EF4-FFF2-40B4-BE49-F238E27FC236}">
                <a16:creationId xmlns:a16="http://schemas.microsoft.com/office/drawing/2014/main" id="{EAD13A98-2A24-48C7-8163-28473B61F0B1}"/>
              </a:ext>
            </a:extLst>
          </p:cNvPr>
          <p:cNvSpPr>
            <a:spLocks noGrp="1"/>
          </p:cNvSpPr>
          <p:nvPr>
            <p:ph type="body" sz="quarter" idx="13" hasCustomPrompt="1"/>
          </p:nvPr>
        </p:nvSpPr>
        <p:spPr>
          <a:xfrm>
            <a:off x="515937" y="189401"/>
            <a:ext cx="11160126" cy="647212"/>
          </a:xfrm>
          <a:prstGeom prst="rect">
            <a:avLst/>
          </a:prstGeom>
          <a:noFill/>
          <a:ln>
            <a:noFill/>
          </a:ln>
        </p:spPr>
        <p:txBody>
          <a:bodyPr lIns="0" tIns="0" rIns="0" bIns="0" anchor="ctr">
            <a:noAutofit/>
          </a:bodyPr>
          <a:lstStyle>
            <a:lvl1pPr marL="0" indent="0" rtl="0">
              <a:lnSpc>
                <a:spcPct val="100000"/>
              </a:lnSpc>
              <a:spcBef>
                <a:spcPts val="0"/>
              </a:spcBef>
              <a:buNone/>
              <a:defRPr sz="2000">
                <a:solidFill>
                  <a:schemeClr val="tx2"/>
                </a:solidFill>
                <a:latin typeface="+mj-lt"/>
              </a:defRPr>
            </a:lvl1pPr>
            <a:lvl2pPr marL="457200" indent="0">
              <a:buNone/>
              <a:defRPr/>
            </a:lvl2pPr>
            <a:lvl3pPr marL="914400" indent="0">
              <a:buNone/>
              <a:defRPr/>
            </a:lvl3pPr>
            <a:lvl4pPr marL="1371600" indent="0">
              <a:buNone/>
              <a:defRPr/>
            </a:lvl4pPr>
            <a:lvl5pPr marL="1828800" indent="0">
              <a:buNone/>
              <a:defRPr/>
            </a:lvl5pPr>
          </a:lstStyle>
          <a:p>
            <a:r>
              <a:rPr lang="uk-UA" dirty="0"/>
              <a:t>Назва розділу</a:t>
            </a:r>
          </a:p>
        </p:txBody>
      </p:sp>
      <p:sp>
        <p:nvSpPr>
          <p:cNvPr id="6" name="Прямокутник 5" hidden="1">
            <a:extLst>
              <a:ext uri="{FF2B5EF4-FFF2-40B4-BE49-F238E27FC236}">
                <a16:creationId xmlns:a16="http://schemas.microsoft.com/office/drawing/2014/main" id="{BBDC09B3-8A2E-42AB-9AD8-F62010F8116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uk-UA" sz="2000" b="0" i="0" baseline="0" dirty="0">
              <a:latin typeface="e-Ukraine Head LOGO" panose="00000605000000000000" pitchFamily="50" charset="-52"/>
              <a:ea typeface="+mj-ea"/>
              <a:cs typeface="Arial" panose="020B0604020202020204" pitchFamily="34" charset="0"/>
              <a:sym typeface="e-Ukraine Head LOGO" panose="00000605000000000000" pitchFamily="50" charset="-52"/>
            </a:endParaRPr>
          </a:p>
        </p:txBody>
      </p:sp>
      <p:sp>
        <p:nvSpPr>
          <p:cNvPr id="13" name="Slide Number Placeholder 5">
            <a:extLst>
              <a:ext uri="{FF2B5EF4-FFF2-40B4-BE49-F238E27FC236}">
                <a16:creationId xmlns:a16="http://schemas.microsoft.com/office/drawing/2014/main" id="{76B9F27C-5B70-46B1-823B-389AE386586E}"/>
              </a:ext>
            </a:extLst>
          </p:cNvPr>
          <p:cNvSpPr txBox="1">
            <a:spLocks/>
          </p:cNvSpPr>
          <p:nvPr userDrawn="1"/>
        </p:nvSpPr>
        <p:spPr>
          <a:xfrm>
            <a:off x="11857037" y="6561138"/>
            <a:ext cx="334962" cy="296862"/>
          </a:xfrm>
          <a:prstGeom prst="rect">
            <a:avLst/>
          </a:prstGeom>
        </p:spPr>
        <p:txBody>
          <a:bodyPr vert="horz" lIns="0" tIns="0" rIns="72000" bIns="72000" rtlCol="0" anchor="b"/>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fld id="{158F33DB-420C-4C6B-8ADD-EC1D9E54B115}" type="slidenum">
              <a:rPr lang="uk-UA" sz="1000" b="0" smtClean="0">
                <a:solidFill>
                  <a:srgbClr val="003A5D"/>
                </a:solidFill>
                <a:latin typeface="e-Ukraine Head LOGO" panose="00000605000000000000" pitchFamily="50" charset="-52"/>
              </a:rPr>
              <a:pPr algn="r" rtl="0"/>
              <a:t>‹№›</a:t>
            </a:fld>
            <a:endParaRPr lang="uk-UA" sz="1000" b="0" dirty="0">
              <a:solidFill>
                <a:srgbClr val="003A5D"/>
              </a:solidFill>
              <a:latin typeface="e-Ukraine Head LOGO" panose="00000605000000000000" pitchFamily="50" charset="-52"/>
            </a:endParaRPr>
          </a:p>
        </p:txBody>
      </p:sp>
      <p:sp>
        <p:nvSpPr>
          <p:cNvPr id="4" name="Текст 3">
            <a:extLst>
              <a:ext uri="{FF2B5EF4-FFF2-40B4-BE49-F238E27FC236}">
                <a16:creationId xmlns:a16="http://schemas.microsoft.com/office/drawing/2014/main" id="{FE487C30-15B5-2205-907E-A394D5063D50}"/>
              </a:ext>
            </a:extLst>
          </p:cNvPr>
          <p:cNvSpPr>
            <a:spLocks noGrp="1"/>
          </p:cNvSpPr>
          <p:nvPr>
            <p:ph type="body" sz="quarter" idx="14" hasCustomPrompt="1"/>
          </p:nvPr>
        </p:nvSpPr>
        <p:spPr>
          <a:xfrm>
            <a:off x="1891154" y="2971800"/>
            <a:ext cx="8409693" cy="914400"/>
          </a:xfrm>
        </p:spPr>
        <p:txBody>
          <a:bodyPr lIns="0" tIns="0" rIns="0" bIns="0" anchor="ctr">
            <a:noAutofit/>
          </a:bodyPr>
          <a:lstStyle>
            <a:lvl1pPr marL="0" indent="0" algn="ctr">
              <a:buNone/>
              <a:defRPr/>
            </a:lvl1pPr>
          </a:lstStyle>
          <a:p>
            <a:pPr lvl="0"/>
            <a:r>
              <a:rPr lang="uk-UA" dirty="0"/>
              <a:t>Назва підрозділу</a:t>
            </a:r>
          </a:p>
        </p:txBody>
      </p:sp>
    </p:spTree>
    <p:extLst>
      <p:ext uri="{BB962C8B-B14F-4D97-AF65-F5344CB8AC3E}">
        <p14:creationId xmlns:p14="http://schemas.microsoft.com/office/powerpoint/2010/main" val="3700353229"/>
      </p:ext>
    </p:extLst>
  </p:cSld>
  <p:clrMapOvr>
    <a:masterClrMapping/>
  </p:clrMapOvr>
  <p:extLst>
    <p:ext uri="{DCECCB84-F9BA-43D5-87BE-67443E8EF086}">
      <p15:sldGuideLst xmlns:p15="http://schemas.microsoft.com/office/powerpoint/2012/main">
        <p15:guide id="1" pos="325">
          <p15:clr>
            <a:srgbClr val="FBAE40"/>
          </p15:clr>
        </p15:guide>
        <p15:guide id="2" pos="7355">
          <p15:clr>
            <a:srgbClr val="FBAE40"/>
          </p15:clr>
        </p15:guide>
        <p15:guide id="3" orient="horz" pos="119">
          <p15:clr>
            <a:srgbClr val="FBAE40"/>
          </p15:clr>
        </p15:guide>
        <p15:guide id="4" orient="horz" pos="527">
          <p15:clr>
            <a:srgbClr val="FBAE40"/>
          </p15:clr>
        </p15:guide>
        <p15:guide id="7" orient="horz" pos="42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F81898-D24C-4212-88FA-65C169501C17}" type="datetimeFigureOut">
              <a:rPr lang="ru-UA" smtClean="0"/>
              <a:t>09.09.2023</a:t>
            </a:fld>
            <a:endParaRPr lang="ru-U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U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A97019-2E89-4F1E-AFCF-9B349F589BB2}" type="slidenum">
              <a:rPr lang="ru-UA" smtClean="0"/>
              <a:t>‹№›</a:t>
            </a:fld>
            <a:endParaRPr lang="ru-UA"/>
          </a:p>
        </p:txBody>
      </p:sp>
      <p:graphicFrame>
        <p:nvGraphicFramePr>
          <p:cNvPr id="7" name="Объект 6" hidden="1">
            <a:extLst>
              <a:ext uri="{FF2B5EF4-FFF2-40B4-BE49-F238E27FC236}">
                <a16:creationId xmlns:a16="http://schemas.microsoft.com/office/drawing/2014/main" id="{571FC2F1-1292-F928-E633-E5BBFA8A46D0}"/>
              </a:ext>
            </a:extLst>
          </p:cNvPr>
          <p:cNvGraphicFramePr>
            <a:graphicFrameLocks noChangeAspect="1"/>
          </p:cNvGraphicFramePr>
          <p:nvPr userDrawn="1">
            <p:custDataLst>
              <p:tags r:id="rId6"/>
            </p:custDataLst>
            <p:extLst>
              <p:ext uri="{D42A27DB-BD31-4B8C-83A1-F6EECF244321}">
                <p14:modId xmlns:p14="http://schemas.microsoft.com/office/powerpoint/2010/main" val="1264606430"/>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name="think-cell Slide" r:id="rId7" imgW="499" imgH="499" progId="TCLayout.ActiveDocument.1">
                  <p:embed/>
                </p:oleObj>
              </mc:Choice>
              <mc:Fallback>
                <p:oleObj name="think-cell Slide" r:id="rId7" imgW="499" imgH="499" progId="TCLayout.ActiveDocument.1">
                  <p:embed/>
                  <p:pic>
                    <p:nvPicPr>
                      <p:cNvPr id="7" name="Объект 6" hidden="1">
                        <a:extLst>
                          <a:ext uri="{FF2B5EF4-FFF2-40B4-BE49-F238E27FC236}">
                            <a16:creationId xmlns:a16="http://schemas.microsoft.com/office/drawing/2014/main" id="{571FC2F1-1292-F928-E633-E5BBFA8A46D0}"/>
                          </a:ext>
                        </a:extLst>
                      </p:cNvPr>
                      <p:cNvPicPr/>
                      <p:nvPr/>
                    </p:nvPicPr>
                    <p:blipFill>
                      <a:blip r:embed="rId8"/>
                      <a:stretch>
                        <a:fillRect/>
                      </a:stretch>
                    </p:blipFill>
                    <p:spPr>
                      <a:xfrm>
                        <a:off x="2116" y="1588"/>
                        <a:ext cx="2117" cy="1588"/>
                      </a:xfrm>
                      <a:prstGeom prst="rect">
                        <a:avLst/>
                      </a:prstGeom>
                    </p:spPr>
                  </p:pic>
                </p:oleObj>
              </mc:Fallback>
            </mc:AlternateContent>
          </a:graphicData>
        </a:graphic>
      </p:graphicFrame>
    </p:spTree>
    <p:extLst>
      <p:ext uri="{BB962C8B-B14F-4D97-AF65-F5344CB8AC3E}">
        <p14:creationId xmlns:p14="http://schemas.microsoft.com/office/powerpoint/2010/main" val="170900517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9" r:id="rId3"/>
    <p:sldLayoutId id="2147483681"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9.png"/><Relationship Id="rId2" Type="http://schemas.openxmlformats.org/officeDocument/2006/relationships/slideLayout" Target="../slideLayouts/slideLayout1.xml"/><Relationship Id="rId1" Type="http://schemas.openxmlformats.org/officeDocument/2006/relationships/tags" Target="../tags/tag16.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10.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oleObject" Target="../embeddings/oleObject16.bin"/><Relationship Id="rId7"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18.xml"/><Relationship Id="rId6" Type="http://schemas.microsoft.com/office/2007/relationships/hdphoto" Target="../media/hdphoto2.wdp"/><Relationship Id="rId5" Type="http://schemas.openxmlformats.org/officeDocument/2006/relationships/image" Target="../media/image11.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17.bin"/><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9.png"/><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0.png"/><Relationship Id="rId5" Type="http://schemas.openxmlformats.org/officeDocument/2006/relationships/image" Target="../media/image2.emf"/><Relationship Id="rId4"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1.png"/><Relationship Id="rId5" Type="http://schemas.openxmlformats.org/officeDocument/2006/relationships/image" Target="../media/image2.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2.png"/><Relationship Id="rId5" Type="http://schemas.openxmlformats.org/officeDocument/2006/relationships/image" Target="../media/image2.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2.png"/><Relationship Id="rId5" Type="http://schemas.openxmlformats.org/officeDocument/2006/relationships/image" Target="../media/image2.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24.bin"/><Relationship Id="rId7" Type="http://schemas.openxmlformats.org/officeDocument/2006/relationships/image" Target="../media/image31.png"/><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emf"/><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zakon.rada.gov.ua/laws/show/877-16#Text" TargetMode="External"/><Relationship Id="rId1" Type="http://schemas.openxmlformats.org/officeDocument/2006/relationships/slideLayout" Target="../slideLayouts/slideLayout3.xml"/><Relationship Id="rId5" Type="http://schemas.openxmlformats.org/officeDocument/2006/relationships/image" Target="../media/image37.sv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3.xml"/><Relationship Id="rId4" Type="http://schemas.openxmlformats.org/officeDocument/2006/relationships/hyperlink" Target="https://zakon.rada.gov.ua/laws/show/877-16#Text"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inspections.gov.ua/ready4/site/book" TargetMode="External"/><Relationship Id="rId1" Type="http://schemas.openxmlformats.org/officeDocument/2006/relationships/slideLayout" Target="../slideLayouts/slideLayout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inspections.gov.ua/ready4/site/book" TargetMode="External"/><Relationship Id="rId1" Type="http://schemas.openxmlformats.org/officeDocument/2006/relationships/slideLayout" Target="../slideLayouts/slideLayout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3.xml"/><Relationship Id="rId1" Type="http://schemas.openxmlformats.org/officeDocument/2006/relationships/tags" Target="../tags/tag32.xml"/><Relationship Id="rId6" Type="http://schemas.openxmlformats.org/officeDocument/2006/relationships/hyperlink" Target="https://zakon.rada.gov.ua/laws/show/877-16#Text" TargetMode="External"/><Relationship Id="rId5" Type="http://schemas.openxmlformats.org/officeDocument/2006/relationships/image" Target="../media/image42.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33.xml"/><Relationship Id="rId5" Type="http://schemas.openxmlformats.org/officeDocument/2006/relationships/image" Target="../media/image43.gif"/><Relationship Id="rId4" Type="http://schemas.openxmlformats.org/officeDocument/2006/relationships/image" Target="../media/image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34.xml"/><Relationship Id="rId4" Type="http://schemas.openxmlformats.org/officeDocument/2006/relationships/image" Target="../media/image2.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44.png"/><Relationship Id="rId4" Type="http://schemas.openxmlformats.org/officeDocument/2006/relationships/image" Target="../media/image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45.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47.png"/><Relationship Id="rId4" Type="http://schemas.openxmlformats.org/officeDocument/2006/relationships/image" Target="../media/image46.emf"/></Relationships>
</file>

<file path=ppt/slides/_rels/slide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47.png"/><Relationship Id="rId4" Type="http://schemas.openxmlformats.org/officeDocument/2006/relationships/image" Target="../media/image46.emf"/></Relationships>
</file>

<file path=ppt/slides/_rels/slide43.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hyperlink" Target="https://drive.google.com/file/d/1JJoPBF7PaGAvyUgoOJwDyQOM2K9d87z4/view?usp=sharing" TargetMode="External"/><Relationship Id="rId3" Type="http://schemas.openxmlformats.org/officeDocument/2006/relationships/slideLayout" Target="../slideLayouts/slideLayout3.xml"/><Relationship Id="rId7" Type="http://schemas.openxmlformats.org/officeDocument/2006/relationships/image" Target="../media/image56.png"/><Relationship Id="rId12" Type="http://schemas.openxmlformats.org/officeDocument/2006/relationships/hyperlink" Target="https://www.youtube.com/watch?v=jsNJPFoAak0" TargetMode="Externa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png"/><Relationship Id="rId11" Type="http://schemas.openxmlformats.org/officeDocument/2006/relationships/image" Target="../media/image60.png"/><Relationship Id="rId5" Type="http://schemas.openxmlformats.org/officeDocument/2006/relationships/image" Target="../media/image2.emf"/><Relationship Id="rId10" Type="http://schemas.openxmlformats.org/officeDocument/2006/relationships/image" Target="../media/image59.png"/><Relationship Id="rId4" Type="http://schemas.openxmlformats.org/officeDocument/2006/relationships/oleObject" Target="../embeddings/oleObject33.bin"/><Relationship Id="rId9" Type="http://schemas.openxmlformats.org/officeDocument/2006/relationships/image" Target="../media/image5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3.xml"/><Relationship Id="rId7" Type="http://schemas.openxmlformats.org/officeDocument/2006/relationships/image" Target="../media/image62.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1.png"/><Relationship Id="rId11" Type="http://schemas.openxmlformats.org/officeDocument/2006/relationships/image" Target="../media/image65.png"/><Relationship Id="rId5" Type="http://schemas.openxmlformats.org/officeDocument/2006/relationships/image" Target="../media/image2.emf"/><Relationship Id="rId10" Type="http://schemas.openxmlformats.org/officeDocument/2006/relationships/image" Target="../media/image64.png"/><Relationship Id="rId4" Type="http://schemas.openxmlformats.org/officeDocument/2006/relationships/oleObject" Target="../embeddings/oleObject34.bin"/><Relationship Id="rId9" Type="http://schemas.openxmlformats.org/officeDocument/2006/relationships/image" Target="../media/image6.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3.xml"/><Relationship Id="rId7" Type="http://schemas.openxmlformats.org/officeDocument/2006/relationships/image" Target="../media/image66.png"/><Relationship Id="rId12" Type="http://schemas.openxmlformats.org/officeDocument/2006/relationships/hyperlink" Target="https://nes2030.org.ua/docs/doc-vector.pdf" TargetMode="Externa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png"/><Relationship Id="rId11" Type="http://schemas.openxmlformats.org/officeDocument/2006/relationships/image" Target="../media/image70.png"/><Relationship Id="rId5" Type="http://schemas.openxmlformats.org/officeDocument/2006/relationships/image" Target="../media/image2.emf"/><Relationship Id="rId10" Type="http://schemas.openxmlformats.org/officeDocument/2006/relationships/image" Target="../media/image69.png"/><Relationship Id="rId4" Type="http://schemas.openxmlformats.org/officeDocument/2006/relationships/oleObject" Target="../embeddings/oleObject35.bin"/><Relationship Id="rId9" Type="http://schemas.openxmlformats.org/officeDocument/2006/relationships/image" Target="../media/image68.png"/></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47.png"/><Relationship Id="rId4" Type="http://schemas.openxmlformats.org/officeDocument/2006/relationships/image" Target="../media/image4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4.jpeg"/><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47.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emf"/></Relationships>
</file>

<file path=ppt/slides/_rels/slide5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6.png"/><Relationship Id="rId1" Type="http://schemas.openxmlformats.org/officeDocument/2006/relationships/slideLayout" Target="../slideLayouts/slideLayout3.xml"/><Relationship Id="rId5" Type="http://schemas.openxmlformats.org/officeDocument/2006/relationships/image" Target="../media/image77.png"/><Relationship Id="rId4" Type="http://schemas.openxmlformats.org/officeDocument/2006/relationships/image" Target="../media/image75.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oleObject" Target="../embeddings/oleObject38.bin"/><Relationship Id="rId7" Type="http://schemas.openxmlformats.org/officeDocument/2006/relationships/image" Target="../media/image77.png"/><Relationship Id="rId2" Type="http://schemas.openxmlformats.org/officeDocument/2006/relationships/slideLayout" Target="../slideLayouts/slideLayout3.xml"/><Relationship Id="rId1" Type="http://schemas.openxmlformats.org/officeDocument/2006/relationships/tags" Target="../tags/tag48.xml"/><Relationship Id="rId6" Type="http://schemas.microsoft.com/office/2007/relationships/hdphoto" Target="../media/hdphoto4.wdp"/><Relationship Id="rId5" Type="http://schemas.openxmlformats.org/officeDocument/2006/relationships/image" Target="../media/image76.png"/><Relationship Id="rId4" Type="http://schemas.openxmlformats.org/officeDocument/2006/relationships/image" Target="../media/image2.emf"/><Relationship Id="rId9"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49.xml"/><Relationship Id="rId5" Type="http://schemas.openxmlformats.org/officeDocument/2006/relationships/image" Target="../media/image81.jpeg"/><Relationship Id="rId4" Type="http://schemas.openxmlformats.org/officeDocument/2006/relationships/image" Target="../media/image2.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50.xml"/><Relationship Id="rId5" Type="http://schemas.openxmlformats.org/officeDocument/2006/relationships/image" Target="../media/image81.jpeg"/><Relationship Id="rId4" Type="http://schemas.openxmlformats.org/officeDocument/2006/relationships/image" Target="../media/image2.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51.xml"/><Relationship Id="rId5" Type="http://schemas.openxmlformats.org/officeDocument/2006/relationships/image" Target="../media/image81.jpeg"/><Relationship Id="rId4" Type="http://schemas.openxmlformats.org/officeDocument/2006/relationships/image" Target="../media/image2.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xml"/><Relationship Id="rId1" Type="http://schemas.openxmlformats.org/officeDocument/2006/relationships/tags" Target="../tags/tag52.xml"/><Relationship Id="rId6" Type="http://schemas.openxmlformats.org/officeDocument/2006/relationships/image" Target="../media/image81.jpeg"/><Relationship Id="rId5" Type="http://schemas.openxmlformats.org/officeDocument/2006/relationships/image" Target="../media/image82.png"/><Relationship Id="rId4" Type="http://schemas.openxmlformats.org/officeDocument/2006/relationships/image" Target="../media/image2.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83.png"/><Relationship Id="rId5" Type="http://schemas.openxmlformats.org/officeDocument/2006/relationships/image" Target="../media/image19.png"/><Relationship Id="rId4" Type="http://schemas.openxmlformats.org/officeDocument/2006/relationships/image" Target="../media/image2.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4.bin"/><Relationship Id="rId7" Type="http://schemas.openxmlformats.org/officeDocument/2006/relationships/image" Target="../media/image77.png"/><Relationship Id="rId2" Type="http://schemas.openxmlformats.org/officeDocument/2006/relationships/slideLayout" Target="../slideLayouts/slideLayout3.xml"/><Relationship Id="rId1" Type="http://schemas.openxmlformats.org/officeDocument/2006/relationships/tags" Target="../tags/tag54.xml"/><Relationship Id="rId6" Type="http://schemas.microsoft.com/office/2007/relationships/hdphoto" Target="../media/hdphoto4.wdp"/><Relationship Id="rId5" Type="http://schemas.openxmlformats.org/officeDocument/2006/relationships/image" Target="../media/image76.png"/><Relationship Id="rId4" Type="http://schemas.openxmlformats.org/officeDocument/2006/relationships/image" Target="../media/image2.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image" Target="../media/image77.png"/><Relationship Id="rId5" Type="http://schemas.openxmlformats.org/officeDocument/2006/relationships/image" Target="../media/image74.png"/><Relationship Id="rId4" Type="http://schemas.openxmlformats.org/officeDocument/2006/relationships/image" Target="../media/image2.e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image" Target="../media/image84.png"/><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8" Type="http://schemas.openxmlformats.org/officeDocument/2006/relationships/image" Target="../media/image88.svg"/><Relationship Id="rId13" Type="http://schemas.openxmlformats.org/officeDocument/2006/relationships/image" Target="../media/image93.png"/><Relationship Id="rId18" Type="http://schemas.openxmlformats.org/officeDocument/2006/relationships/image" Target="../media/image98.svg"/><Relationship Id="rId3" Type="http://schemas.openxmlformats.org/officeDocument/2006/relationships/oleObject" Target="../embeddings/oleObject47.bin"/><Relationship Id="rId7" Type="http://schemas.openxmlformats.org/officeDocument/2006/relationships/image" Target="../media/image87.png"/><Relationship Id="rId12" Type="http://schemas.openxmlformats.org/officeDocument/2006/relationships/image" Target="../media/image92.svg"/><Relationship Id="rId17" Type="http://schemas.openxmlformats.org/officeDocument/2006/relationships/image" Target="../media/image97.svg"/><Relationship Id="rId2" Type="http://schemas.openxmlformats.org/officeDocument/2006/relationships/slideLayout" Target="../slideLayouts/slideLayout4.xml"/><Relationship Id="rId16" Type="http://schemas.openxmlformats.org/officeDocument/2006/relationships/image" Target="../media/image96.svg"/><Relationship Id="rId1" Type="http://schemas.openxmlformats.org/officeDocument/2006/relationships/tags" Target="../tags/tag57.xml"/><Relationship Id="rId6" Type="http://schemas.openxmlformats.org/officeDocument/2006/relationships/image" Target="../media/image86.svg"/><Relationship Id="rId11" Type="http://schemas.openxmlformats.org/officeDocument/2006/relationships/image" Target="../media/image91.png"/><Relationship Id="rId5" Type="http://schemas.openxmlformats.org/officeDocument/2006/relationships/image" Target="../media/image85.png"/><Relationship Id="rId15" Type="http://schemas.openxmlformats.org/officeDocument/2006/relationships/image" Target="../media/image95.svg"/><Relationship Id="rId10" Type="http://schemas.openxmlformats.org/officeDocument/2006/relationships/image" Target="../media/image90.svg"/><Relationship Id="rId19" Type="http://schemas.openxmlformats.org/officeDocument/2006/relationships/image" Target="../media/image99.svg"/><Relationship Id="rId4" Type="http://schemas.openxmlformats.org/officeDocument/2006/relationships/image" Target="../media/image2.emf"/><Relationship Id="rId9" Type="http://schemas.openxmlformats.org/officeDocument/2006/relationships/image" Target="../media/image89.png"/><Relationship Id="rId14" Type="http://schemas.openxmlformats.org/officeDocument/2006/relationships/image" Target="../media/image94.svg"/></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image" Target="../media/image77.png"/><Relationship Id="rId5" Type="http://schemas.openxmlformats.org/officeDocument/2006/relationships/image" Target="../media/image100.png"/><Relationship Id="rId4" Type="http://schemas.openxmlformats.org/officeDocument/2006/relationships/image" Target="../media/image2.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gif"/><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gif"/><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105.png"/><Relationship Id="rId4" Type="http://schemas.openxmlformats.org/officeDocument/2006/relationships/image" Target="../media/image46.emf"/></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60.xml"/><Relationship Id="rId4" Type="http://schemas.openxmlformats.org/officeDocument/2006/relationships/image" Target="../media/image46.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3" Type="http://schemas.openxmlformats.org/officeDocument/2006/relationships/image" Target="../media/image107.svg"/><Relationship Id="rId2" Type="http://schemas.openxmlformats.org/officeDocument/2006/relationships/image" Target="../media/image106.png"/><Relationship Id="rId1" Type="http://schemas.openxmlformats.org/officeDocument/2006/relationships/slideLayout" Target="../slideLayouts/slideLayout1.xml"/><Relationship Id="rId5" Type="http://schemas.openxmlformats.org/officeDocument/2006/relationships/image" Target="../media/image109.svg"/><Relationship Id="rId4" Type="http://schemas.openxmlformats.org/officeDocument/2006/relationships/image" Target="../media/image108.png"/></Relationships>
</file>

<file path=ppt/slides/_rels/slide81.xml.rels><?xml version="1.0" encoding="UTF-8" standalone="yes"?>
<Relationships xmlns="http://schemas.openxmlformats.org/package/2006/relationships"><Relationship Id="rId3" Type="http://schemas.openxmlformats.org/officeDocument/2006/relationships/image" Target="../media/image111.svg"/><Relationship Id="rId2" Type="http://schemas.openxmlformats.org/officeDocument/2006/relationships/image" Target="../media/image110.png"/><Relationship Id="rId1" Type="http://schemas.openxmlformats.org/officeDocument/2006/relationships/slideLayout" Target="../slideLayouts/slideLayout1.xml"/><Relationship Id="rId5" Type="http://schemas.openxmlformats.org/officeDocument/2006/relationships/image" Target="../media/image113.svg"/><Relationship Id="rId4" Type="http://schemas.openxmlformats.org/officeDocument/2006/relationships/image" Target="../media/image112.png"/></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drive.google.com/drive/u/0/folders/1cv5eT-kWfag-hFf83h7BcxXBJ45Fh0YZ" TargetMode="Externa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14.png"/><Relationship Id="rId5" Type="http://schemas.openxmlformats.org/officeDocument/2006/relationships/image" Target="../media/image2.emf"/><Relationship Id="rId4" Type="http://schemas.openxmlformats.org/officeDocument/2006/relationships/oleObject" Target="../embeddings/oleObject51.bin"/></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63.xml"/><Relationship Id="rId5" Type="http://schemas.openxmlformats.org/officeDocument/2006/relationships/image" Target="../media/image115.png"/><Relationship Id="rId4" Type="http://schemas.openxmlformats.org/officeDocument/2006/relationships/image" Target="../media/image46.emf"/></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1B3E4F37-698F-423B-B473-5D927AB99B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1B3E4F37-698F-423B-B473-5D927AB99B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Прямоугольник 2">
            <a:extLst>
              <a:ext uri="{FF2B5EF4-FFF2-40B4-BE49-F238E27FC236}">
                <a16:creationId xmlns:a16="http://schemas.microsoft.com/office/drawing/2014/main" id="{71465413-A61B-484B-3274-3F9F60E5DEA1}"/>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UA"/>
          </a:p>
        </p:txBody>
      </p:sp>
      <p:sp>
        <p:nvSpPr>
          <p:cNvPr id="2" name="Текст 1">
            <a:extLst>
              <a:ext uri="{FF2B5EF4-FFF2-40B4-BE49-F238E27FC236}">
                <a16:creationId xmlns:a16="http://schemas.microsoft.com/office/drawing/2014/main" id="{68D5F1BF-947A-0F44-F59A-88E76FEA875F}"/>
              </a:ext>
            </a:extLst>
          </p:cNvPr>
          <p:cNvSpPr>
            <a:spLocks noGrp="1"/>
          </p:cNvSpPr>
          <p:nvPr>
            <p:ph type="body" sz="quarter" idx="10"/>
          </p:nvPr>
        </p:nvSpPr>
        <p:spPr>
          <a:xfrm>
            <a:off x="814920" y="2231923"/>
            <a:ext cx="9544816" cy="2113014"/>
          </a:xfrm>
        </p:spPr>
        <p:txBody>
          <a:bodyPr/>
          <a:lstStyle/>
          <a:p>
            <a:r>
              <a:rPr lang="ru-RU" sz="4800" dirty="0" err="1">
                <a:solidFill>
                  <a:schemeClr val="bg1"/>
                </a:solidFill>
              </a:rPr>
              <a:t>Ключові</a:t>
            </a:r>
            <a:r>
              <a:rPr lang="ru-RU" sz="4800" dirty="0">
                <a:solidFill>
                  <a:schemeClr val="bg1"/>
                </a:solidFill>
              </a:rPr>
              <a:t> правила </a:t>
            </a:r>
            <a:r>
              <a:rPr lang="ru-RU" sz="4800" dirty="0" err="1">
                <a:solidFill>
                  <a:schemeClr val="bg1"/>
                </a:solidFill>
              </a:rPr>
              <a:t>розробки</a:t>
            </a:r>
            <a:r>
              <a:rPr lang="ru-RU" sz="4800" dirty="0">
                <a:solidFill>
                  <a:schemeClr val="bg1"/>
                </a:solidFill>
              </a:rPr>
              <a:t> </a:t>
            </a:r>
            <a:r>
              <a:rPr lang="ru-RU" sz="4800" dirty="0" err="1">
                <a:solidFill>
                  <a:schemeClr val="bg1"/>
                </a:solidFill>
              </a:rPr>
              <a:t>презентацій</a:t>
            </a:r>
            <a:endParaRPr lang="ru-RU" sz="4800" dirty="0">
              <a:solidFill>
                <a:schemeClr val="bg1"/>
              </a:solidFill>
            </a:endParaRPr>
          </a:p>
        </p:txBody>
      </p:sp>
      <p:sp>
        <p:nvSpPr>
          <p:cNvPr id="5" name="Овал 4">
            <a:extLst>
              <a:ext uri="{FF2B5EF4-FFF2-40B4-BE49-F238E27FC236}">
                <a16:creationId xmlns:a16="http://schemas.microsoft.com/office/drawing/2014/main" id="{D366CD11-E393-D3E5-DB17-3B9C346CEB77}"/>
              </a:ext>
            </a:extLst>
          </p:cNvPr>
          <p:cNvSpPr/>
          <p:nvPr/>
        </p:nvSpPr>
        <p:spPr>
          <a:xfrm>
            <a:off x="6463314" y="549275"/>
            <a:ext cx="540328" cy="540328"/>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dirty="0">
                <a:latin typeface="+mj-lt"/>
              </a:rPr>
              <a:t>0</a:t>
            </a:r>
            <a:endParaRPr lang="ru-UA" dirty="0">
              <a:latin typeface="+mj-lt"/>
            </a:endParaRPr>
          </a:p>
        </p:txBody>
      </p:sp>
      <p:sp>
        <p:nvSpPr>
          <p:cNvPr id="7" name="Овал 6">
            <a:extLst>
              <a:ext uri="{FF2B5EF4-FFF2-40B4-BE49-F238E27FC236}">
                <a16:creationId xmlns:a16="http://schemas.microsoft.com/office/drawing/2014/main" id="{5AFFE72B-B4B5-0580-154F-C04392A07F3D}"/>
              </a:ext>
            </a:extLst>
          </p:cNvPr>
          <p:cNvSpPr/>
          <p:nvPr/>
        </p:nvSpPr>
        <p:spPr>
          <a:xfrm>
            <a:off x="7099204" y="549275"/>
            <a:ext cx="540328" cy="540328"/>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dirty="0">
                <a:latin typeface="+mj-lt"/>
              </a:rPr>
              <a:t>1</a:t>
            </a:r>
            <a:endParaRPr lang="ru-UA" dirty="0">
              <a:latin typeface="+mj-lt"/>
            </a:endParaRPr>
          </a:p>
        </p:txBody>
      </p:sp>
      <p:sp>
        <p:nvSpPr>
          <p:cNvPr id="6" name="Прямоугольник: скругленные углы 5">
            <a:extLst>
              <a:ext uri="{FF2B5EF4-FFF2-40B4-BE49-F238E27FC236}">
                <a16:creationId xmlns:a16="http://schemas.microsoft.com/office/drawing/2014/main" id="{5FE7DACE-6813-BF9B-659A-4293B74087FE}"/>
              </a:ext>
            </a:extLst>
          </p:cNvPr>
          <p:cNvSpPr/>
          <p:nvPr/>
        </p:nvSpPr>
        <p:spPr>
          <a:xfrm>
            <a:off x="9642763" y="549275"/>
            <a:ext cx="1734849"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dirty="0">
                <a:solidFill>
                  <a:schemeClr val="accent1"/>
                </a:solidFill>
                <a:latin typeface="+mj-lt"/>
              </a:rPr>
              <a:t>МОДУЛЬ 4</a:t>
            </a:r>
            <a:endParaRPr lang="ru-RU" dirty="0">
              <a:solidFill>
                <a:schemeClr val="accent1"/>
              </a:solidFill>
              <a:latin typeface="+mj-lt"/>
            </a:endParaRPr>
          </a:p>
        </p:txBody>
      </p:sp>
      <p:pic>
        <p:nvPicPr>
          <p:cNvPr id="8" name="Рисунок 7" descr="Зображення, що містить текст, картинка&#10;&#10;Автоматично згенерований опис">
            <a:extLst>
              <a:ext uri="{FF2B5EF4-FFF2-40B4-BE49-F238E27FC236}">
                <a16:creationId xmlns:a16="http://schemas.microsoft.com/office/drawing/2014/main" id="{A978FE94-4F11-C0BC-E3B1-ABA9D22840C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9081" y="430381"/>
            <a:ext cx="2235492" cy="865135"/>
          </a:xfrm>
          <a:prstGeom prst="rect">
            <a:avLst/>
          </a:prstGeom>
        </p:spPr>
      </p:pic>
      <p:sp>
        <p:nvSpPr>
          <p:cNvPr id="12" name="Овал 11">
            <a:extLst>
              <a:ext uri="{FF2B5EF4-FFF2-40B4-BE49-F238E27FC236}">
                <a16:creationId xmlns:a16="http://schemas.microsoft.com/office/drawing/2014/main" id="{990FB24F-163A-4FA8-0EA2-320C39A2A8C6}"/>
              </a:ext>
            </a:extLst>
          </p:cNvPr>
          <p:cNvSpPr/>
          <p:nvPr/>
        </p:nvSpPr>
        <p:spPr>
          <a:xfrm>
            <a:off x="7735094" y="549275"/>
            <a:ext cx="540328" cy="540328"/>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dirty="0">
                <a:latin typeface="+mj-lt"/>
              </a:rPr>
              <a:t>2</a:t>
            </a:r>
            <a:endParaRPr lang="ru-UA" dirty="0">
              <a:latin typeface="+mj-lt"/>
            </a:endParaRPr>
          </a:p>
        </p:txBody>
      </p:sp>
      <p:sp>
        <p:nvSpPr>
          <p:cNvPr id="13" name="Овал 12">
            <a:extLst>
              <a:ext uri="{FF2B5EF4-FFF2-40B4-BE49-F238E27FC236}">
                <a16:creationId xmlns:a16="http://schemas.microsoft.com/office/drawing/2014/main" id="{CA70F889-CBA8-64C9-3A37-80280E176B9C}"/>
              </a:ext>
            </a:extLst>
          </p:cNvPr>
          <p:cNvSpPr/>
          <p:nvPr/>
        </p:nvSpPr>
        <p:spPr>
          <a:xfrm>
            <a:off x="8370984" y="549275"/>
            <a:ext cx="540328" cy="540328"/>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dirty="0">
                <a:latin typeface="+mj-lt"/>
              </a:rPr>
              <a:t>3</a:t>
            </a:r>
            <a:endParaRPr lang="ru-UA" dirty="0">
              <a:latin typeface="+mj-lt"/>
            </a:endParaRPr>
          </a:p>
        </p:txBody>
      </p:sp>
      <p:sp>
        <p:nvSpPr>
          <p:cNvPr id="14" name="Овал 13">
            <a:extLst>
              <a:ext uri="{FF2B5EF4-FFF2-40B4-BE49-F238E27FC236}">
                <a16:creationId xmlns:a16="http://schemas.microsoft.com/office/drawing/2014/main" id="{84E970ED-448F-42E6-D4D7-523B3D6E3E35}"/>
              </a:ext>
            </a:extLst>
          </p:cNvPr>
          <p:cNvSpPr/>
          <p:nvPr/>
        </p:nvSpPr>
        <p:spPr>
          <a:xfrm>
            <a:off x="9006874" y="549275"/>
            <a:ext cx="540328" cy="540328"/>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dirty="0" err="1">
                <a:latin typeface="+mj-lt"/>
              </a:rPr>
              <a:t>дз</a:t>
            </a:r>
            <a:endParaRPr lang="ru-UA" dirty="0">
              <a:latin typeface="+mj-lt"/>
            </a:endParaRPr>
          </a:p>
        </p:txBody>
      </p:sp>
    </p:spTree>
    <p:extLst>
      <p:ext uri="{BB962C8B-B14F-4D97-AF65-F5344CB8AC3E}">
        <p14:creationId xmlns:p14="http://schemas.microsoft.com/office/powerpoint/2010/main" val="980141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3. </a:t>
            </a:r>
            <a:r>
              <a:rPr lang="ru-RU" dirty="0" err="1">
                <a:solidFill>
                  <a:schemeClr val="accent1"/>
                </a:solidFill>
              </a:rPr>
              <a:t>Потім</a:t>
            </a:r>
            <a:r>
              <a:rPr lang="ru-RU" dirty="0">
                <a:solidFill>
                  <a:schemeClr val="accent1"/>
                </a:solidFill>
              </a:rPr>
              <a:t> </a:t>
            </a:r>
            <a:r>
              <a:rPr lang="ru-RU" dirty="0" err="1">
                <a:solidFill>
                  <a:schemeClr val="accent1"/>
                </a:solidFill>
              </a:rPr>
              <a:t>ви</a:t>
            </a:r>
            <a:r>
              <a:rPr lang="ru-RU" dirty="0">
                <a:solidFill>
                  <a:schemeClr val="accent1"/>
                </a:solidFill>
              </a:rPr>
              <a:t> </a:t>
            </a:r>
            <a:r>
              <a:rPr lang="ru-RU" dirty="0" err="1">
                <a:solidFill>
                  <a:schemeClr val="accent1"/>
                </a:solidFill>
              </a:rPr>
              <a:t>трансформуєте</a:t>
            </a:r>
            <a:r>
              <a:rPr lang="ru-RU" dirty="0">
                <a:solidFill>
                  <a:schemeClr val="accent1"/>
                </a:solidFill>
              </a:rPr>
              <a:t> сторілайн у </a:t>
            </a:r>
            <a:r>
              <a:rPr lang="ru-RU" dirty="0" err="1">
                <a:solidFill>
                  <a:schemeClr val="accent1"/>
                </a:solidFill>
              </a:rPr>
              <a:t>сформульовані</a:t>
            </a:r>
            <a:r>
              <a:rPr lang="ru-RU" dirty="0">
                <a:solidFill>
                  <a:schemeClr val="accent1"/>
                </a:solidFill>
              </a:rPr>
              <a:t> заголовки</a:t>
            </a:r>
          </a:p>
        </p:txBody>
      </p:sp>
      <p:pic>
        <p:nvPicPr>
          <p:cNvPr id="3" name="Рисунок 2">
            <a:extLst>
              <a:ext uri="{FF2B5EF4-FFF2-40B4-BE49-F238E27FC236}">
                <a16:creationId xmlns:a16="http://schemas.microsoft.com/office/drawing/2014/main" id="{B4A5F4D3-4FF6-AA38-F18A-21E6557A2E41}"/>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814388" y="2133600"/>
            <a:ext cx="4006994" cy="6055434"/>
          </a:xfrm>
          <a:prstGeom prst="roundRect">
            <a:avLst>
              <a:gd name="adj" fmla="val 6117"/>
            </a:avLst>
          </a:prstGeom>
          <a:effectLst>
            <a:outerShdw blurRad="50800" dist="38100" dir="2700000" algn="tl" rotWithShape="0">
              <a:prstClr val="black">
                <a:alpha val="40000"/>
              </a:prstClr>
            </a:outerShdw>
          </a:effectLst>
        </p:spPr>
      </p:pic>
      <p:pic>
        <p:nvPicPr>
          <p:cNvPr id="7" name="Рисунок 6">
            <a:extLst>
              <a:ext uri="{FF2B5EF4-FFF2-40B4-BE49-F238E27FC236}">
                <a16:creationId xmlns:a16="http://schemas.microsoft.com/office/drawing/2014/main" id="{2EB0969F-B6B5-1A1D-6107-77CC7AAB8FBC}"/>
              </a:ext>
            </a:extLst>
          </p:cNvPr>
          <p:cNvPicPr>
            <a:picLocks noChangeAspect="1"/>
          </p:cNvPicPr>
          <p:nvPr/>
        </p:nvPicPr>
        <p:blipFill>
          <a:blip r:embed="rId7"/>
          <a:stretch>
            <a:fillRect/>
          </a:stretch>
        </p:blipFill>
        <p:spPr>
          <a:xfrm>
            <a:off x="5953946" y="2133600"/>
            <a:ext cx="5423667" cy="288000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8" name="Стрілка: вправо 19">
            <a:extLst>
              <a:ext uri="{FF2B5EF4-FFF2-40B4-BE49-F238E27FC236}">
                <a16:creationId xmlns:a16="http://schemas.microsoft.com/office/drawing/2014/main" id="{950A7047-AA7C-7C37-2FAE-DEE3B07555A6}"/>
              </a:ext>
            </a:extLst>
          </p:cNvPr>
          <p:cNvSpPr/>
          <p:nvPr/>
        </p:nvSpPr>
        <p:spPr>
          <a:xfrm>
            <a:off x="5207664" y="3421365"/>
            <a:ext cx="360000" cy="3600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dirty="0"/>
          </a:p>
        </p:txBody>
      </p:sp>
    </p:spTree>
    <p:extLst>
      <p:ext uri="{BB962C8B-B14F-4D97-AF65-F5344CB8AC3E}">
        <p14:creationId xmlns:p14="http://schemas.microsoft.com/office/powerpoint/2010/main" val="2557991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3. </a:t>
            </a:r>
            <a:r>
              <a:rPr lang="ru-RU" dirty="0" err="1">
                <a:solidFill>
                  <a:schemeClr val="accent1"/>
                </a:solidFill>
              </a:rPr>
              <a:t>Потім</a:t>
            </a:r>
            <a:r>
              <a:rPr lang="ru-RU" dirty="0">
                <a:solidFill>
                  <a:schemeClr val="accent1"/>
                </a:solidFill>
              </a:rPr>
              <a:t> до </a:t>
            </a:r>
            <a:r>
              <a:rPr lang="ru-RU" dirty="0" err="1">
                <a:solidFill>
                  <a:schemeClr val="accent1"/>
                </a:solidFill>
              </a:rPr>
              <a:t>цих</a:t>
            </a:r>
            <a:r>
              <a:rPr lang="ru-RU" dirty="0">
                <a:solidFill>
                  <a:schemeClr val="accent1"/>
                </a:solidFill>
              </a:rPr>
              <a:t> </a:t>
            </a:r>
            <a:r>
              <a:rPr lang="ru-RU" dirty="0" err="1">
                <a:solidFill>
                  <a:schemeClr val="accent1"/>
                </a:solidFill>
              </a:rPr>
              <a:t>заголовків</a:t>
            </a:r>
            <a:r>
              <a:rPr lang="ru-RU" dirty="0">
                <a:solidFill>
                  <a:schemeClr val="accent1"/>
                </a:solidFill>
              </a:rPr>
              <a:t> робите </a:t>
            </a:r>
            <a:r>
              <a:rPr lang="en-US" dirty="0">
                <a:solidFill>
                  <a:schemeClr val="accent1"/>
                </a:solidFill>
              </a:rPr>
              <a:t>story board</a:t>
            </a:r>
            <a:endParaRPr lang="ru-RU" dirty="0">
              <a:solidFill>
                <a:schemeClr val="accent1"/>
              </a:solidFill>
            </a:endParaRPr>
          </a:p>
        </p:txBody>
      </p:sp>
      <p:sp>
        <p:nvSpPr>
          <p:cNvPr id="3" name="Стрілка: вправо 19">
            <a:extLst>
              <a:ext uri="{FF2B5EF4-FFF2-40B4-BE49-F238E27FC236}">
                <a16:creationId xmlns:a16="http://schemas.microsoft.com/office/drawing/2014/main" id="{6A5201A2-5145-2824-E6B4-54F999C64711}"/>
              </a:ext>
            </a:extLst>
          </p:cNvPr>
          <p:cNvSpPr/>
          <p:nvPr/>
        </p:nvSpPr>
        <p:spPr>
          <a:xfrm>
            <a:off x="3866318" y="3387865"/>
            <a:ext cx="360000" cy="3600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pic>
        <p:nvPicPr>
          <p:cNvPr id="6" name="Рисунок 5">
            <a:extLst>
              <a:ext uri="{FF2B5EF4-FFF2-40B4-BE49-F238E27FC236}">
                <a16:creationId xmlns:a16="http://schemas.microsoft.com/office/drawing/2014/main" id="{FF391621-8FA8-8FF2-83A2-AA6381757CCB}"/>
              </a:ext>
            </a:extLst>
          </p:cNvPr>
          <p:cNvPicPr>
            <a:picLocks noChangeAspect="1"/>
          </p:cNvPicPr>
          <p:nvPr/>
        </p:nvPicPr>
        <p:blipFill>
          <a:blip r:embed="rId5"/>
          <a:stretch>
            <a:fillRect/>
          </a:stretch>
        </p:blipFill>
        <p:spPr>
          <a:xfrm>
            <a:off x="4566415" y="2133600"/>
            <a:ext cx="6838433" cy="288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8" name="Рисунок 7">
            <a:extLst>
              <a:ext uri="{FF2B5EF4-FFF2-40B4-BE49-F238E27FC236}">
                <a16:creationId xmlns:a16="http://schemas.microsoft.com/office/drawing/2014/main" id="{F5F64EC7-9360-9363-0AF9-7C7B616823A1}"/>
              </a:ext>
            </a:extLst>
          </p:cNvPr>
          <p:cNvPicPr>
            <a:picLocks noChangeAspect="1"/>
          </p:cNvPicPr>
          <p:nvPr/>
        </p:nvPicPr>
        <p:blipFill>
          <a:blip r:embed="rId6"/>
          <a:stretch>
            <a:fillRect/>
          </a:stretch>
        </p:blipFill>
        <p:spPr>
          <a:xfrm>
            <a:off x="-1897446" y="2133600"/>
            <a:ext cx="5423667" cy="2880000"/>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395590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en-US" dirty="0">
                <a:solidFill>
                  <a:schemeClr val="accent1"/>
                </a:solidFill>
              </a:rPr>
              <a:t>3. Story board </a:t>
            </a:r>
            <a:r>
              <a:rPr lang="uk-UA" dirty="0">
                <a:solidFill>
                  <a:schemeClr val="accent1"/>
                </a:solidFill>
              </a:rPr>
              <a:t>можна намалювати прямо на листочку</a:t>
            </a:r>
            <a:endParaRPr lang="ru-RU" dirty="0">
              <a:solidFill>
                <a:schemeClr val="accent1"/>
              </a:solidFill>
            </a:endParaRPr>
          </a:p>
        </p:txBody>
      </p:sp>
      <p:pic>
        <p:nvPicPr>
          <p:cNvPr id="2" name="Рисунок 1">
            <a:extLst>
              <a:ext uri="{FF2B5EF4-FFF2-40B4-BE49-F238E27FC236}">
                <a16:creationId xmlns:a16="http://schemas.microsoft.com/office/drawing/2014/main" id="{2C4ECA74-D103-4CE0-028D-270E0655612B}"/>
              </a:ext>
            </a:extLst>
          </p:cNvPr>
          <p:cNvPicPr>
            <a:picLocks noChangeAspect="1"/>
          </p:cNvPicPr>
          <p:nvPr/>
        </p:nvPicPr>
        <p:blipFill rotWithShape="1">
          <a:blip r:embed="rId5">
            <a:extLst>
              <a:ext uri="{BEBA8EAE-BF5A-486C-A8C5-ECC9F3942E4B}">
                <a14:imgProps xmlns:a14="http://schemas.microsoft.com/office/drawing/2010/main">
                  <a14:imgLayer r:embed="rId6">
                    <a14:imgEffect>
                      <a14:colorTemperature colorTemp="11200"/>
                    </a14:imgEffect>
                  </a14:imgLayer>
                </a14:imgProps>
              </a:ext>
            </a:extLst>
          </a:blip>
          <a:srcRect t="832" r="832"/>
          <a:stretch/>
        </p:blipFill>
        <p:spPr>
          <a:xfrm>
            <a:off x="5448477" y="2135792"/>
            <a:ext cx="4409211" cy="5380161"/>
          </a:xfrm>
          <a:prstGeom prst="roundRect">
            <a:avLst>
              <a:gd name="adj" fmla="val 3852"/>
            </a:avLst>
          </a:prstGeom>
          <a:ln>
            <a:solidFill>
              <a:schemeClr val="bg1">
                <a:lumMod val="75000"/>
              </a:schemeClr>
            </a:solidFill>
          </a:ln>
          <a:effectLst>
            <a:outerShdw blurRad="50800" dist="38100" dir="13500000" algn="br" rotWithShape="0">
              <a:prstClr val="black">
                <a:alpha val="40000"/>
              </a:prstClr>
            </a:outerShdw>
          </a:effectLst>
        </p:spPr>
      </p:pic>
      <p:pic>
        <p:nvPicPr>
          <p:cNvPr id="3" name="Рисунок 2">
            <a:extLst>
              <a:ext uri="{FF2B5EF4-FFF2-40B4-BE49-F238E27FC236}">
                <a16:creationId xmlns:a16="http://schemas.microsoft.com/office/drawing/2014/main" id="{80D66AA6-5E91-FBD3-DBD3-BB1C95F79947}"/>
              </a:ext>
            </a:extLst>
          </p:cNvPr>
          <p:cNvPicPr>
            <a:picLocks noChangeAspect="1"/>
          </p:cNvPicPr>
          <p:nvPr/>
        </p:nvPicPr>
        <p:blipFill rotWithShape="1">
          <a:blip r:embed="rId7">
            <a:extLst>
              <a:ext uri="{BEBA8EAE-BF5A-486C-A8C5-ECC9F3942E4B}">
                <a14:imgProps xmlns:a14="http://schemas.microsoft.com/office/drawing/2010/main">
                  <a14:imgLayer r:embed="rId8">
                    <a14:imgEffect>
                      <a14:colorTemperature colorTemp="11200"/>
                    </a14:imgEffect>
                  </a14:imgLayer>
                </a14:imgProps>
              </a:ext>
            </a:extLst>
          </a:blip>
          <a:srcRect t="834" r="834"/>
          <a:stretch/>
        </p:blipFill>
        <p:spPr>
          <a:xfrm>
            <a:off x="814388" y="2133600"/>
            <a:ext cx="4409211" cy="5364819"/>
          </a:xfrm>
          <a:prstGeom prst="roundRect">
            <a:avLst>
              <a:gd name="adj" fmla="val 3005"/>
            </a:avLst>
          </a:prstGeom>
          <a:ln>
            <a:solidFill>
              <a:schemeClr val="bg1">
                <a:lumMod val="75000"/>
              </a:schemeClr>
            </a:solidFill>
          </a:ln>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2123818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4. Ви </a:t>
            </a:r>
            <a:r>
              <a:rPr lang="ru-RU" dirty="0" err="1">
                <a:solidFill>
                  <a:schemeClr val="accent1"/>
                </a:solidFill>
              </a:rPr>
              <a:t>повинні</a:t>
            </a:r>
            <a:r>
              <a:rPr lang="ru-RU" dirty="0">
                <a:solidFill>
                  <a:schemeClr val="accent1"/>
                </a:solidFill>
              </a:rPr>
              <a:t> </a:t>
            </a:r>
            <a:r>
              <a:rPr lang="ru-RU" dirty="0" err="1">
                <a:solidFill>
                  <a:schemeClr val="accent1"/>
                </a:solidFill>
              </a:rPr>
              <a:t>прописувати</a:t>
            </a:r>
            <a:r>
              <a:rPr lang="ru-RU" dirty="0">
                <a:solidFill>
                  <a:schemeClr val="accent1"/>
                </a:solidFill>
              </a:rPr>
              <a:t> весь контент не для себе, а для того, </a:t>
            </a:r>
            <a:r>
              <a:rPr lang="ru-RU" dirty="0" err="1">
                <a:solidFill>
                  <a:schemeClr val="accent1"/>
                </a:solidFill>
              </a:rPr>
              <a:t>хто</a:t>
            </a:r>
            <a:r>
              <a:rPr lang="ru-RU" dirty="0">
                <a:solidFill>
                  <a:schemeClr val="accent1"/>
                </a:solidFill>
              </a:rPr>
              <a:t> буде </a:t>
            </a:r>
            <a:r>
              <a:rPr lang="ru-RU" dirty="0" err="1">
                <a:solidFill>
                  <a:schemeClr val="accent1"/>
                </a:solidFill>
              </a:rPr>
              <a:t>читати</a:t>
            </a:r>
            <a:r>
              <a:rPr lang="ru-RU" dirty="0">
                <a:solidFill>
                  <a:schemeClr val="accent1"/>
                </a:solidFill>
              </a:rPr>
              <a:t> </a:t>
            </a:r>
            <a:r>
              <a:rPr lang="ru-RU" dirty="0" err="1">
                <a:solidFill>
                  <a:schemeClr val="accent1"/>
                </a:solidFill>
              </a:rPr>
              <a:t>презентацію</a:t>
            </a:r>
            <a:endParaRPr lang="ru-RU" dirty="0">
              <a:solidFill>
                <a:schemeClr val="accent1"/>
              </a:solidFill>
            </a:endParaRPr>
          </a:p>
        </p:txBody>
      </p:sp>
      <p:sp>
        <p:nvSpPr>
          <p:cNvPr id="2" name="Прямокутник: округлені кути 11">
            <a:extLst>
              <a:ext uri="{FF2B5EF4-FFF2-40B4-BE49-F238E27FC236}">
                <a16:creationId xmlns:a16="http://schemas.microsoft.com/office/drawing/2014/main" id="{E901E856-17F9-C70B-84E1-47DF52B02DF2}"/>
              </a:ext>
            </a:extLst>
          </p:cNvPr>
          <p:cNvSpPr/>
          <p:nvPr/>
        </p:nvSpPr>
        <p:spPr>
          <a:xfrm>
            <a:off x="4941670" y="5939295"/>
            <a:ext cx="2880000" cy="36943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144000" rtlCol="0" anchor="ctr"/>
          <a:lstStyle/>
          <a:p>
            <a:pPr algn="ctr">
              <a:spcAft>
                <a:spcPts val="1200"/>
              </a:spcAft>
            </a:pPr>
            <a:r>
              <a:rPr lang="uk-UA" dirty="0">
                <a:solidFill>
                  <a:schemeClr val="tx1"/>
                </a:solidFill>
                <a:latin typeface="+mj-lt"/>
              </a:rPr>
              <a:t>…то інші зовсім не зрозуміють</a:t>
            </a:r>
          </a:p>
        </p:txBody>
      </p:sp>
      <p:pic>
        <p:nvPicPr>
          <p:cNvPr id="3" name="Графіка 12" descr="Man with solid fill">
            <a:extLst>
              <a:ext uri="{FF2B5EF4-FFF2-40B4-BE49-F238E27FC236}">
                <a16:creationId xmlns:a16="http://schemas.microsoft.com/office/drawing/2014/main" id="{CE7BC94E-7427-0030-2C44-01B573E901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81670" y="2040228"/>
            <a:ext cx="3600000" cy="3600000"/>
          </a:xfrm>
          <a:prstGeom prst="rect">
            <a:avLst/>
          </a:prstGeom>
        </p:spPr>
      </p:pic>
      <p:sp>
        <p:nvSpPr>
          <p:cNvPr id="6" name="Прямокутник: округлені кути 9">
            <a:extLst>
              <a:ext uri="{FF2B5EF4-FFF2-40B4-BE49-F238E27FC236}">
                <a16:creationId xmlns:a16="http://schemas.microsoft.com/office/drawing/2014/main" id="{16AB5054-3920-498F-9154-488675DA787B}"/>
              </a:ext>
            </a:extLst>
          </p:cNvPr>
          <p:cNvSpPr/>
          <p:nvPr/>
        </p:nvSpPr>
        <p:spPr>
          <a:xfrm>
            <a:off x="1174388" y="5939295"/>
            <a:ext cx="2880000" cy="36943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144000" rtlCol="0" anchor="ctr"/>
          <a:lstStyle/>
          <a:p>
            <a:pPr algn="ctr">
              <a:spcAft>
                <a:spcPts val="1200"/>
              </a:spcAft>
            </a:pPr>
            <a:r>
              <a:rPr lang="uk-UA" dirty="0">
                <a:solidFill>
                  <a:schemeClr val="tx1"/>
                </a:solidFill>
                <a:latin typeface="+mj-lt"/>
              </a:rPr>
              <a:t>Якщо ви зрозуміли наполовину…</a:t>
            </a:r>
          </a:p>
        </p:txBody>
      </p:sp>
      <p:pic>
        <p:nvPicPr>
          <p:cNvPr id="7" name="Графіка 2" descr="Man with solid fill">
            <a:extLst>
              <a:ext uri="{FF2B5EF4-FFF2-40B4-BE49-F238E27FC236}">
                <a16:creationId xmlns:a16="http://schemas.microsoft.com/office/drawing/2014/main" id="{A4EF0931-EDEC-97FE-22A1-B5377B6B9A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4388" y="2040228"/>
            <a:ext cx="3600000" cy="3600000"/>
          </a:xfrm>
          <a:prstGeom prst="rect">
            <a:avLst/>
          </a:prstGeom>
        </p:spPr>
      </p:pic>
      <p:pic>
        <p:nvPicPr>
          <p:cNvPr id="8" name="Графіка 13" descr="Man with solid fill">
            <a:extLst>
              <a:ext uri="{FF2B5EF4-FFF2-40B4-BE49-F238E27FC236}">
                <a16:creationId xmlns:a16="http://schemas.microsoft.com/office/drawing/2014/main" id="{F375F15F-E857-AEA4-E6DE-0708CD4F5EF0}"/>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52216"/>
          <a:stretch/>
        </p:blipFill>
        <p:spPr>
          <a:xfrm>
            <a:off x="814388" y="3919994"/>
            <a:ext cx="3600000" cy="1720233"/>
          </a:xfrm>
          <a:prstGeom prst="rect">
            <a:avLst/>
          </a:prstGeom>
        </p:spPr>
      </p:pic>
    </p:spTree>
    <p:extLst>
      <p:ext uri="{BB962C8B-B14F-4D97-AF65-F5344CB8AC3E}">
        <p14:creationId xmlns:p14="http://schemas.microsoft.com/office/powerpoint/2010/main" val="3660149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down)">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err="1">
                <a:solidFill>
                  <a:schemeClr val="accent1"/>
                </a:solidFill>
              </a:rPr>
              <a:t>Слайди</a:t>
            </a:r>
            <a:r>
              <a:rPr lang="ru-RU" dirty="0">
                <a:solidFill>
                  <a:schemeClr val="accent1"/>
                </a:solidFill>
              </a:rPr>
              <a:t> </a:t>
            </a:r>
            <a:r>
              <a:rPr lang="ru-RU" dirty="0" err="1">
                <a:solidFill>
                  <a:schemeClr val="accent1"/>
                </a:solidFill>
              </a:rPr>
              <a:t>повинні</a:t>
            </a:r>
            <a:r>
              <a:rPr lang="ru-RU" dirty="0">
                <a:solidFill>
                  <a:schemeClr val="accent1"/>
                </a:solidFill>
              </a:rPr>
              <a:t> </a:t>
            </a:r>
            <a:r>
              <a:rPr lang="ru-RU" dirty="0" err="1">
                <a:solidFill>
                  <a:schemeClr val="accent1"/>
                </a:solidFill>
              </a:rPr>
              <a:t>відповідати</a:t>
            </a:r>
            <a:r>
              <a:rPr lang="ru-RU" dirty="0">
                <a:solidFill>
                  <a:schemeClr val="accent1"/>
                </a:solidFill>
              </a:rPr>
              <a:t> </a:t>
            </a:r>
            <a:r>
              <a:rPr lang="ru-RU" dirty="0" err="1">
                <a:solidFill>
                  <a:schemeClr val="accent1"/>
                </a:solidFill>
              </a:rPr>
              <a:t>кільком</a:t>
            </a:r>
            <a:r>
              <a:rPr lang="ru-RU" dirty="0">
                <a:solidFill>
                  <a:schemeClr val="accent1"/>
                </a:solidFill>
              </a:rPr>
              <a:t> правилам</a:t>
            </a:r>
          </a:p>
        </p:txBody>
      </p:sp>
      <p:sp>
        <p:nvSpPr>
          <p:cNvPr id="2" name="Прямокутник 8">
            <a:extLst>
              <a:ext uri="{FF2B5EF4-FFF2-40B4-BE49-F238E27FC236}">
                <a16:creationId xmlns:a16="http://schemas.microsoft.com/office/drawing/2014/main" id="{AF36A0F7-B3C8-1651-F1E7-5CE368CB3AF6}"/>
              </a:ext>
            </a:extLst>
          </p:cNvPr>
          <p:cNvSpPr/>
          <p:nvPr/>
        </p:nvSpPr>
        <p:spPr>
          <a:xfrm>
            <a:off x="1579506" y="1863600"/>
            <a:ext cx="9443361"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dirty="0">
                <a:solidFill>
                  <a:schemeClr val="tx1"/>
                </a:solidFill>
                <a:ea typeface="Roboto Black" panose="02000000000000000000" pitchFamily="2" charset="0"/>
              </a:rPr>
              <a:t>Один слайд – один </a:t>
            </a:r>
            <a:r>
              <a:rPr lang="ru-RU" dirty="0" err="1">
                <a:solidFill>
                  <a:schemeClr val="tx1"/>
                </a:solidFill>
                <a:ea typeface="Roboto Black" panose="02000000000000000000" pitchFamily="2" charset="0"/>
              </a:rPr>
              <a:t>меседж</a:t>
            </a:r>
            <a:endParaRPr lang="ru-RU" dirty="0">
              <a:solidFill>
                <a:schemeClr val="tx1"/>
              </a:solidFill>
              <a:ea typeface="Roboto Black" panose="02000000000000000000" pitchFamily="2" charset="0"/>
            </a:endParaRPr>
          </a:p>
        </p:txBody>
      </p:sp>
      <p:sp>
        <p:nvSpPr>
          <p:cNvPr id="3" name="Прямокутник: округлені кути 34">
            <a:extLst>
              <a:ext uri="{FF2B5EF4-FFF2-40B4-BE49-F238E27FC236}">
                <a16:creationId xmlns:a16="http://schemas.microsoft.com/office/drawing/2014/main" id="{F60EB1D9-4795-08DA-93AC-48B23EDBC9FB}"/>
              </a:ext>
            </a:extLst>
          </p:cNvPr>
          <p:cNvSpPr/>
          <p:nvPr/>
        </p:nvSpPr>
        <p:spPr>
          <a:xfrm>
            <a:off x="814388" y="1863600"/>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6" name="Прямокутник: округлені кути 38">
            <a:extLst>
              <a:ext uri="{FF2B5EF4-FFF2-40B4-BE49-F238E27FC236}">
                <a16:creationId xmlns:a16="http://schemas.microsoft.com/office/drawing/2014/main" id="{E055010D-E3EB-F4EB-D3F7-3B7B2C4385DA}"/>
              </a:ext>
            </a:extLst>
          </p:cNvPr>
          <p:cNvSpPr/>
          <p:nvPr/>
        </p:nvSpPr>
        <p:spPr>
          <a:xfrm>
            <a:off x="814388" y="2734461"/>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7" name="Прямокутник: округлені кути 39">
            <a:extLst>
              <a:ext uri="{FF2B5EF4-FFF2-40B4-BE49-F238E27FC236}">
                <a16:creationId xmlns:a16="http://schemas.microsoft.com/office/drawing/2014/main" id="{8D55F46C-6B1F-51D6-4E14-2C857BECE1A1}"/>
              </a:ext>
            </a:extLst>
          </p:cNvPr>
          <p:cNvSpPr/>
          <p:nvPr/>
        </p:nvSpPr>
        <p:spPr>
          <a:xfrm>
            <a:off x="814388" y="3605322"/>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8" name="Прямокутник 43">
            <a:extLst>
              <a:ext uri="{FF2B5EF4-FFF2-40B4-BE49-F238E27FC236}">
                <a16:creationId xmlns:a16="http://schemas.microsoft.com/office/drawing/2014/main" id="{22C1072F-9989-4376-0FD3-D8D2436B36C5}"/>
              </a:ext>
            </a:extLst>
          </p:cNvPr>
          <p:cNvSpPr/>
          <p:nvPr/>
        </p:nvSpPr>
        <p:spPr>
          <a:xfrm>
            <a:off x="1579506" y="2734461"/>
            <a:ext cx="9443361"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Кожен</a:t>
            </a:r>
            <a:r>
              <a:rPr lang="ru-RU" sz="1800" dirty="0">
                <a:solidFill>
                  <a:schemeClr val="tx1"/>
                </a:solidFill>
                <a:ea typeface="Roboto Black" panose="02000000000000000000" pitchFamily="2" charset="0"/>
              </a:rPr>
              <a:t> слайд повинен </a:t>
            </a:r>
            <a:r>
              <a:rPr lang="ru-RU" sz="1800" dirty="0" err="1">
                <a:solidFill>
                  <a:schemeClr val="tx1"/>
                </a:solidFill>
                <a:ea typeface="Roboto Black" panose="02000000000000000000" pitchFamily="2" charset="0"/>
              </a:rPr>
              <a:t>мати</a:t>
            </a:r>
            <a:r>
              <a:rPr lang="ru-RU" sz="1800" dirty="0">
                <a:solidFill>
                  <a:schemeClr val="tx1"/>
                </a:solidFill>
                <a:ea typeface="Roboto Black" panose="02000000000000000000" pitchFamily="2" charset="0"/>
              </a:rPr>
              <a:t> </a:t>
            </a:r>
            <a:r>
              <a:rPr lang="en-US" sz="1800" dirty="0">
                <a:solidFill>
                  <a:schemeClr val="tx1"/>
                </a:solidFill>
                <a:ea typeface="Roboto Black" panose="02000000000000000000" pitchFamily="2" charset="0"/>
              </a:rPr>
              <a:t>action title</a:t>
            </a:r>
            <a:r>
              <a:rPr lang="uk-UA" sz="1800" dirty="0">
                <a:solidFill>
                  <a:schemeClr val="tx1"/>
                </a:solidFill>
                <a:ea typeface="Roboto Black" panose="02000000000000000000" pitchFamily="2" charset="0"/>
              </a:rPr>
              <a:t> і </a:t>
            </a:r>
            <a:r>
              <a:rPr lang="ru-RU" sz="1800" dirty="0" err="1">
                <a:solidFill>
                  <a:schemeClr val="tx1"/>
                </a:solidFill>
                <a:ea typeface="Roboto Black" panose="02000000000000000000" pitchFamily="2" charset="0"/>
              </a:rPr>
              <a:t>давати</a:t>
            </a:r>
            <a:r>
              <a:rPr lang="ru-RU" sz="1800" dirty="0">
                <a:solidFill>
                  <a:schemeClr val="tx1"/>
                </a:solidFill>
                <a:ea typeface="Roboto Black" panose="02000000000000000000" pitchFamily="2" charset="0"/>
              </a:rPr>
              <a:t> </a:t>
            </a:r>
            <a:r>
              <a:rPr lang="ru-RU" sz="1800" dirty="0" err="1">
                <a:solidFill>
                  <a:schemeClr val="tx1"/>
                </a:solidFill>
                <a:ea typeface="Roboto Black" panose="02000000000000000000" pitchFamily="2" charset="0"/>
              </a:rPr>
              <a:t>відповідь</a:t>
            </a:r>
            <a:r>
              <a:rPr lang="ru-RU" sz="1800" dirty="0">
                <a:solidFill>
                  <a:schemeClr val="tx1"/>
                </a:solidFill>
                <a:ea typeface="Roboto Black" panose="02000000000000000000" pitchFamily="2" charset="0"/>
              </a:rPr>
              <a:t> на </a:t>
            </a:r>
            <a:r>
              <a:rPr lang="ru-RU" sz="1800" dirty="0" err="1">
                <a:solidFill>
                  <a:schemeClr val="tx1"/>
                </a:solidFill>
                <a:ea typeface="Roboto Black" panose="02000000000000000000" pitchFamily="2" charset="0"/>
              </a:rPr>
              <a:t>питання</a:t>
            </a:r>
            <a:r>
              <a:rPr lang="ru-RU" sz="1800" dirty="0">
                <a:solidFill>
                  <a:schemeClr val="tx1"/>
                </a:solidFill>
                <a:ea typeface="Roboto Black" panose="02000000000000000000" pitchFamily="2" charset="0"/>
              </a:rPr>
              <a:t> “</a:t>
            </a:r>
            <a:r>
              <a:rPr lang="ru-RU" sz="1800" dirty="0" err="1">
                <a:solidFill>
                  <a:schemeClr val="tx1"/>
                </a:solidFill>
                <a:ea typeface="Roboto Black" panose="02000000000000000000" pitchFamily="2" charset="0"/>
              </a:rPr>
              <a:t>so</a:t>
            </a:r>
            <a:r>
              <a:rPr lang="ru-RU" sz="1800" dirty="0">
                <a:solidFill>
                  <a:schemeClr val="tx1"/>
                </a:solidFill>
                <a:ea typeface="Roboto Black" panose="02000000000000000000" pitchFamily="2" charset="0"/>
              </a:rPr>
              <a:t> </a:t>
            </a:r>
            <a:r>
              <a:rPr lang="ru-RU" sz="1800" dirty="0" err="1">
                <a:solidFill>
                  <a:schemeClr val="tx1"/>
                </a:solidFill>
                <a:ea typeface="Roboto Black" panose="02000000000000000000" pitchFamily="2" charset="0"/>
              </a:rPr>
              <a:t>what</a:t>
            </a:r>
            <a:r>
              <a:rPr lang="ru-RU" sz="1800" dirty="0">
                <a:solidFill>
                  <a:schemeClr val="tx1"/>
                </a:solidFill>
                <a:ea typeface="Roboto Black" panose="02000000000000000000" pitchFamily="2" charset="0"/>
              </a:rPr>
              <a:t>”</a:t>
            </a:r>
            <a:endParaRPr lang="uk-UA" sz="1800" dirty="0">
              <a:solidFill>
                <a:schemeClr val="tx1"/>
              </a:solidFill>
              <a:ea typeface="Roboto Black" panose="02000000000000000000" pitchFamily="2" charset="0"/>
            </a:endParaRPr>
          </a:p>
        </p:txBody>
      </p:sp>
      <p:sp>
        <p:nvSpPr>
          <p:cNvPr id="9" name="Прямокутник 44">
            <a:extLst>
              <a:ext uri="{FF2B5EF4-FFF2-40B4-BE49-F238E27FC236}">
                <a16:creationId xmlns:a16="http://schemas.microsoft.com/office/drawing/2014/main" id="{1525BFBD-EB66-1207-D306-FF4935A97AC6}"/>
              </a:ext>
            </a:extLst>
          </p:cNvPr>
          <p:cNvSpPr/>
          <p:nvPr/>
        </p:nvSpPr>
        <p:spPr>
          <a:xfrm>
            <a:off x="1579507" y="3605322"/>
            <a:ext cx="8835778"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Кожен</a:t>
            </a:r>
            <a:r>
              <a:rPr lang="ru-RU" sz="1800" dirty="0">
                <a:solidFill>
                  <a:schemeClr val="tx1"/>
                </a:solidFill>
                <a:ea typeface="Roboto Black" panose="02000000000000000000" pitchFamily="2" charset="0"/>
              </a:rPr>
              <a:t> слайд на крок </a:t>
            </a:r>
            <a:r>
              <a:rPr lang="ru-RU" sz="1800" dirty="0" err="1">
                <a:solidFill>
                  <a:schemeClr val="tx1"/>
                </a:solidFill>
                <a:ea typeface="Roboto Black" panose="02000000000000000000" pitchFamily="2" charset="0"/>
              </a:rPr>
              <a:t>наближає</a:t>
            </a:r>
            <a:r>
              <a:rPr lang="ru-RU" sz="1800" dirty="0">
                <a:solidFill>
                  <a:schemeClr val="tx1"/>
                </a:solidFill>
                <a:ea typeface="Roboto Black" panose="02000000000000000000" pitchFamily="2" charset="0"/>
              </a:rPr>
              <a:t> до </a:t>
            </a:r>
            <a:r>
              <a:rPr lang="ru-RU" sz="1800" dirty="0" err="1">
                <a:solidFill>
                  <a:schemeClr val="tx1"/>
                </a:solidFill>
                <a:ea typeface="Roboto Black" panose="02000000000000000000" pitchFamily="2" charset="0"/>
              </a:rPr>
              <a:t>загального</a:t>
            </a:r>
            <a:r>
              <a:rPr lang="ru-RU" sz="1800" dirty="0">
                <a:solidFill>
                  <a:schemeClr val="tx1"/>
                </a:solidFill>
                <a:ea typeface="Roboto Black" panose="02000000000000000000" pitchFamily="2" charset="0"/>
              </a:rPr>
              <a:t> </a:t>
            </a:r>
            <a:r>
              <a:rPr lang="ru-RU" sz="1800" dirty="0" err="1">
                <a:solidFill>
                  <a:schemeClr val="tx1"/>
                </a:solidFill>
                <a:ea typeface="Roboto Black" panose="02000000000000000000" pitchFamily="2" charset="0"/>
              </a:rPr>
              <a:t>меседжу</a:t>
            </a:r>
            <a:r>
              <a:rPr lang="ru-RU" dirty="0">
                <a:solidFill>
                  <a:schemeClr val="tx1"/>
                </a:solidFill>
                <a:ea typeface="Roboto Black" panose="02000000000000000000" pitchFamily="2" charset="0"/>
              </a:rPr>
              <a:t>. </a:t>
            </a:r>
            <a:r>
              <a:rPr lang="ru-RU" dirty="0" err="1">
                <a:solidFill>
                  <a:schemeClr val="tx1"/>
                </a:solidFill>
                <a:ea typeface="Roboto Black" panose="02000000000000000000" pitchFamily="2" charset="0"/>
              </a:rPr>
              <a:t>Слайди</a:t>
            </a:r>
            <a:r>
              <a:rPr lang="ru-RU" dirty="0">
                <a:solidFill>
                  <a:schemeClr val="tx1"/>
                </a:solidFill>
                <a:ea typeface="Roboto Black" panose="02000000000000000000" pitchFamily="2" charset="0"/>
              </a:rPr>
              <a:t> </a:t>
            </a:r>
            <a:r>
              <a:rPr lang="ru-RU" dirty="0" err="1">
                <a:solidFill>
                  <a:schemeClr val="tx1"/>
                </a:solidFill>
                <a:ea typeface="Roboto Black" panose="02000000000000000000" pitchFamily="2" charset="0"/>
              </a:rPr>
              <a:t>заради</a:t>
            </a:r>
            <a:r>
              <a:rPr lang="ru-RU" dirty="0">
                <a:solidFill>
                  <a:schemeClr val="tx1"/>
                </a:solidFill>
                <a:ea typeface="Roboto Black" panose="02000000000000000000" pitchFamily="2" charset="0"/>
              </a:rPr>
              <a:t> </a:t>
            </a:r>
            <a:r>
              <a:rPr lang="ru-RU" dirty="0" err="1">
                <a:solidFill>
                  <a:schemeClr val="tx1"/>
                </a:solidFill>
                <a:ea typeface="Roboto Black" panose="02000000000000000000" pitchFamily="2" charset="0"/>
              </a:rPr>
              <a:t>слайдів</a:t>
            </a:r>
            <a:r>
              <a:rPr lang="ru-RU" dirty="0">
                <a:solidFill>
                  <a:schemeClr val="tx1"/>
                </a:solidFill>
                <a:ea typeface="Roboto Black" panose="02000000000000000000" pitchFamily="2" charset="0"/>
              </a:rPr>
              <a:t> </a:t>
            </a:r>
            <a:r>
              <a:rPr lang="ru-RU" dirty="0" err="1">
                <a:solidFill>
                  <a:schemeClr val="tx1"/>
                </a:solidFill>
                <a:ea typeface="Roboto Black" panose="02000000000000000000" pitchFamily="2" charset="0"/>
              </a:rPr>
              <a:t>нікому</a:t>
            </a:r>
            <a:r>
              <a:rPr lang="ru-RU" dirty="0">
                <a:solidFill>
                  <a:schemeClr val="tx1"/>
                </a:solidFill>
                <a:ea typeface="Roboto Black" panose="02000000000000000000" pitchFamily="2" charset="0"/>
              </a:rPr>
              <a:t> не </a:t>
            </a:r>
            <a:r>
              <a:rPr lang="ru-RU" dirty="0" err="1">
                <a:solidFill>
                  <a:schemeClr val="tx1"/>
                </a:solidFill>
                <a:ea typeface="Roboto Black" panose="02000000000000000000" pitchFamily="2" charset="0"/>
              </a:rPr>
              <a:t>потрібні</a:t>
            </a:r>
            <a:endParaRPr lang="ru-RU" sz="1800" dirty="0">
              <a:solidFill>
                <a:schemeClr val="tx1"/>
              </a:solidFill>
              <a:ea typeface="Roboto Black" panose="02000000000000000000" pitchFamily="2" charset="0"/>
            </a:endParaRPr>
          </a:p>
        </p:txBody>
      </p:sp>
    </p:spTree>
    <p:extLst>
      <p:ext uri="{BB962C8B-B14F-4D97-AF65-F5344CB8AC3E}">
        <p14:creationId xmlns:p14="http://schemas.microsoft.com/office/powerpoint/2010/main" val="53468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Рисунок 10">
            <a:extLst>
              <a:ext uri="{FF2B5EF4-FFF2-40B4-BE49-F238E27FC236}">
                <a16:creationId xmlns:a16="http://schemas.microsoft.com/office/drawing/2014/main" id="{17CEE9FC-2C3C-4E24-BB3E-654AC0DDE257}"/>
              </a:ext>
            </a:extLst>
          </p:cNvPr>
          <p:cNvPicPr>
            <a:picLocks noChangeAspect="1"/>
          </p:cNvPicPr>
          <p:nvPr/>
        </p:nvPicPr>
        <p:blipFill>
          <a:blip r:embed="rId6"/>
          <a:stretch>
            <a:fillRect/>
          </a:stretch>
        </p:blipFill>
        <p:spPr>
          <a:xfrm>
            <a:off x="696000" y="720000"/>
            <a:ext cx="10800000" cy="6072538"/>
          </a:xfrm>
          <a:prstGeom prst="rect">
            <a:avLst/>
          </a:prstGeom>
        </p:spPr>
      </p:pic>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sp>
        <p:nvSpPr>
          <p:cNvPr id="14" name="Прямокутник 13">
            <a:extLst>
              <a:ext uri="{FF2B5EF4-FFF2-40B4-BE49-F238E27FC236}">
                <a16:creationId xmlns:a16="http://schemas.microsoft.com/office/drawing/2014/main" id="{B08AF6F1-11BE-4519-BCD4-5A813F47950A}"/>
              </a:ext>
            </a:extLst>
          </p:cNvPr>
          <p:cNvSpPr/>
          <p:nvPr/>
        </p:nvSpPr>
        <p:spPr>
          <a:xfrm>
            <a:off x="0" y="0"/>
            <a:ext cx="61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6" name="Прямокутник 15">
            <a:extLst>
              <a:ext uri="{FF2B5EF4-FFF2-40B4-BE49-F238E27FC236}">
                <a16:creationId xmlns:a16="http://schemas.microsoft.com/office/drawing/2014/main" id="{9BA7C097-2934-4427-B2FB-51C37577F4EC}"/>
              </a:ext>
            </a:extLst>
          </p:cNvPr>
          <p:cNvSpPr/>
          <p:nvPr/>
        </p:nvSpPr>
        <p:spPr>
          <a:xfrm>
            <a:off x="11580000" y="0"/>
            <a:ext cx="612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000" dirty="0">
                <a:latin typeface="+mj-lt"/>
              </a:rPr>
              <a:t>1</a:t>
            </a:r>
            <a:endParaRPr lang="ru-UA" sz="2000" dirty="0">
              <a:latin typeface="+mj-lt"/>
            </a:endParaRPr>
          </a:p>
        </p:txBody>
      </p:sp>
      <p:sp>
        <p:nvSpPr>
          <p:cNvPr id="17" name="Прямокутник 16">
            <a:extLst>
              <a:ext uri="{FF2B5EF4-FFF2-40B4-BE49-F238E27FC236}">
                <a16:creationId xmlns:a16="http://schemas.microsoft.com/office/drawing/2014/main" id="{05E41694-F204-4BA6-923D-EAD438C8D88A}"/>
              </a:ext>
            </a:extLst>
          </p:cNvPr>
          <p:cNvSpPr/>
          <p:nvPr/>
        </p:nvSpPr>
        <p:spPr>
          <a:xfrm>
            <a:off x="11580000" y="838200"/>
            <a:ext cx="612000" cy="6019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9" name="Прямокутник: округлені кути 8">
            <a:extLst>
              <a:ext uri="{FF2B5EF4-FFF2-40B4-BE49-F238E27FC236}">
                <a16:creationId xmlns:a16="http://schemas.microsoft.com/office/drawing/2014/main" id="{9D3915C6-EFE7-446E-8F11-48C9B3E7D078}"/>
              </a:ext>
            </a:extLst>
          </p:cNvPr>
          <p:cNvSpPr/>
          <p:nvPr/>
        </p:nvSpPr>
        <p:spPr>
          <a:xfrm>
            <a:off x="688367" y="95581"/>
            <a:ext cx="3298006" cy="481263"/>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400" dirty="0">
                <a:solidFill>
                  <a:schemeClr val="bg1"/>
                </a:solidFill>
                <a:latin typeface="+mj-lt"/>
              </a:rPr>
              <a:t>Слайд з багатьма меседжами</a:t>
            </a:r>
            <a:endParaRPr lang="en-US" sz="1400" dirty="0">
              <a:solidFill>
                <a:schemeClr val="bg1"/>
              </a:solidFill>
              <a:latin typeface="+mj-lt"/>
            </a:endParaRPr>
          </a:p>
        </p:txBody>
      </p:sp>
      <p:sp>
        <p:nvSpPr>
          <p:cNvPr id="2" name="Овал 1">
            <a:extLst>
              <a:ext uri="{FF2B5EF4-FFF2-40B4-BE49-F238E27FC236}">
                <a16:creationId xmlns:a16="http://schemas.microsoft.com/office/drawing/2014/main" id="{353F8ACF-C69F-0D4C-74A5-DA7AFC19ABB9}"/>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21093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Рисунок 3">
            <a:extLst>
              <a:ext uri="{FF2B5EF4-FFF2-40B4-BE49-F238E27FC236}">
                <a16:creationId xmlns:a16="http://schemas.microsoft.com/office/drawing/2014/main" id="{4FB9E1BE-2323-DA18-D65F-5E5EDC0F47E8}"/>
              </a:ext>
            </a:extLst>
          </p:cNvPr>
          <p:cNvPicPr>
            <a:picLocks noChangeAspect="1"/>
          </p:cNvPicPr>
          <p:nvPr/>
        </p:nvPicPr>
        <p:blipFill>
          <a:blip r:embed="rId6"/>
          <a:stretch>
            <a:fillRect/>
          </a:stretch>
        </p:blipFill>
        <p:spPr>
          <a:xfrm>
            <a:off x="696000" y="645668"/>
            <a:ext cx="10800000" cy="6072537"/>
          </a:xfrm>
          <a:prstGeom prst="rect">
            <a:avLst/>
          </a:prstGeom>
        </p:spPr>
      </p:pic>
      <p:sp>
        <p:nvSpPr>
          <p:cNvPr id="10" name="Прямокутник 9">
            <a:extLst>
              <a:ext uri="{FF2B5EF4-FFF2-40B4-BE49-F238E27FC236}">
                <a16:creationId xmlns:a16="http://schemas.microsoft.com/office/drawing/2014/main" id="{0E078A86-67FC-4683-A95D-E9D5978012DF}"/>
              </a:ext>
            </a:extLst>
          </p:cNvPr>
          <p:cNvSpPr/>
          <p:nvPr/>
        </p:nvSpPr>
        <p:spPr>
          <a:xfrm>
            <a:off x="-1" y="0"/>
            <a:ext cx="9801547" cy="7089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sp>
        <p:nvSpPr>
          <p:cNvPr id="9" name="Прямокутник: округлені кути 8">
            <a:extLst>
              <a:ext uri="{FF2B5EF4-FFF2-40B4-BE49-F238E27FC236}">
                <a16:creationId xmlns:a16="http://schemas.microsoft.com/office/drawing/2014/main" id="{82A9F24E-A687-435E-83AE-C58DB4B06173}"/>
              </a:ext>
            </a:extLst>
          </p:cNvPr>
          <p:cNvSpPr/>
          <p:nvPr/>
        </p:nvSpPr>
        <p:spPr>
          <a:xfrm>
            <a:off x="688367" y="95581"/>
            <a:ext cx="3298006" cy="48126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400" dirty="0">
                <a:solidFill>
                  <a:schemeClr val="bg1"/>
                </a:solidFill>
                <a:latin typeface="+mj-lt"/>
              </a:rPr>
              <a:t>Слайд з одним меседжем</a:t>
            </a:r>
            <a:endParaRPr lang="en-US" sz="1400" dirty="0">
              <a:solidFill>
                <a:schemeClr val="bg1"/>
              </a:solidFill>
              <a:latin typeface="+mj-lt"/>
            </a:endParaRPr>
          </a:p>
        </p:txBody>
      </p:sp>
      <p:sp>
        <p:nvSpPr>
          <p:cNvPr id="11" name="Прямокутник 10">
            <a:extLst>
              <a:ext uri="{FF2B5EF4-FFF2-40B4-BE49-F238E27FC236}">
                <a16:creationId xmlns:a16="http://schemas.microsoft.com/office/drawing/2014/main" id="{A358CE5E-BAE4-4D91-BB85-FEA2A75B9B65}"/>
              </a:ext>
            </a:extLst>
          </p:cNvPr>
          <p:cNvSpPr/>
          <p:nvPr/>
        </p:nvSpPr>
        <p:spPr>
          <a:xfrm>
            <a:off x="11580000" y="0"/>
            <a:ext cx="612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000" dirty="0">
                <a:latin typeface="+mj-lt"/>
              </a:rPr>
              <a:t>1</a:t>
            </a:r>
            <a:endParaRPr lang="ru-UA" sz="2000" dirty="0">
              <a:latin typeface="+mj-lt"/>
            </a:endParaRPr>
          </a:p>
        </p:txBody>
      </p:sp>
      <p:sp>
        <p:nvSpPr>
          <p:cNvPr id="12" name="Прямокутник 11">
            <a:extLst>
              <a:ext uri="{FF2B5EF4-FFF2-40B4-BE49-F238E27FC236}">
                <a16:creationId xmlns:a16="http://schemas.microsoft.com/office/drawing/2014/main" id="{F7109ABF-1482-4DD7-9FC3-A037A00C9FBD}"/>
              </a:ext>
            </a:extLst>
          </p:cNvPr>
          <p:cNvSpPr/>
          <p:nvPr/>
        </p:nvSpPr>
        <p:spPr>
          <a:xfrm>
            <a:off x="0" y="0"/>
            <a:ext cx="61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3" name="Прямокутник 12">
            <a:extLst>
              <a:ext uri="{FF2B5EF4-FFF2-40B4-BE49-F238E27FC236}">
                <a16:creationId xmlns:a16="http://schemas.microsoft.com/office/drawing/2014/main" id="{C0396F26-6545-481D-97B2-55ACC4FA80FF}"/>
              </a:ext>
            </a:extLst>
          </p:cNvPr>
          <p:cNvSpPr/>
          <p:nvPr/>
        </p:nvSpPr>
        <p:spPr>
          <a:xfrm>
            <a:off x="11580000" y="838200"/>
            <a:ext cx="612000" cy="6019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2" name="Овал 1">
            <a:extLst>
              <a:ext uri="{FF2B5EF4-FFF2-40B4-BE49-F238E27FC236}">
                <a16:creationId xmlns:a16="http://schemas.microsoft.com/office/drawing/2014/main" id="{998B7EDF-2956-B5A7-0958-D7CF14D6AD0E}"/>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594705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Прямокутник 9">
            <a:extLst>
              <a:ext uri="{FF2B5EF4-FFF2-40B4-BE49-F238E27FC236}">
                <a16:creationId xmlns:a16="http://schemas.microsoft.com/office/drawing/2014/main" id="{0E078A86-67FC-4683-A95D-E9D5978012DF}"/>
              </a:ext>
            </a:extLst>
          </p:cNvPr>
          <p:cNvSpPr/>
          <p:nvPr/>
        </p:nvSpPr>
        <p:spPr>
          <a:xfrm>
            <a:off x="-1" y="0"/>
            <a:ext cx="9801547" cy="7089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sp>
        <p:nvSpPr>
          <p:cNvPr id="9" name="Прямокутник: округлені кути 8">
            <a:extLst>
              <a:ext uri="{FF2B5EF4-FFF2-40B4-BE49-F238E27FC236}">
                <a16:creationId xmlns:a16="http://schemas.microsoft.com/office/drawing/2014/main" id="{82A9F24E-A687-435E-83AE-C58DB4B06173}"/>
              </a:ext>
            </a:extLst>
          </p:cNvPr>
          <p:cNvSpPr/>
          <p:nvPr/>
        </p:nvSpPr>
        <p:spPr>
          <a:xfrm>
            <a:off x="688367" y="95581"/>
            <a:ext cx="3298006" cy="48126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400" dirty="0">
                <a:solidFill>
                  <a:schemeClr val="bg1"/>
                </a:solidFill>
                <a:latin typeface="+mj-lt"/>
              </a:rPr>
              <a:t>Слайд з одним меседжем</a:t>
            </a:r>
            <a:endParaRPr lang="en-US" sz="1400" dirty="0">
              <a:solidFill>
                <a:schemeClr val="bg1"/>
              </a:solidFill>
              <a:latin typeface="+mj-lt"/>
            </a:endParaRPr>
          </a:p>
        </p:txBody>
      </p:sp>
      <p:sp>
        <p:nvSpPr>
          <p:cNvPr id="11" name="Прямокутник 10">
            <a:extLst>
              <a:ext uri="{FF2B5EF4-FFF2-40B4-BE49-F238E27FC236}">
                <a16:creationId xmlns:a16="http://schemas.microsoft.com/office/drawing/2014/main" id="{A358CE5E-BAE4-4D91-BB85-FEA2A75B9B65}"/>
              </a:ext>
            </a:extLst>
          </p:cNvPr>
          <p:cNvSpPr/>
          <p:nvPr/>
        </p:nvSpPr>
        <p:spPr>
          <a:xfrm>
            <a:off x="11580000" y="0"/>
            <a:ext cx="612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000" dirty="0">
                <a:latin typeface="+mj-lt"/>
              </a:rPr>
              <a:t>1</a:t>
            </a:r>
            <a:endParaRPr lang="ru-UA" sz="2000" dirty="0">
              <a:latin typeface="+mj-lt"/>
            </a:endParaRPr>
          </a:p>
        </p:txBody>
      </p:sp>
      <p:sp>
        <p:nvSpPr>
          <p:cNvPr id="12" name="Прямокутник 11">
            <a:extLst>
              <a:ext uri="{FF2B5EF4-FFF2-40B4-BE49-F238E27FC236}">
                <a16:creationId xmlns:a16="http://schemas.microsoft.com/office/drawing/2014/main" id="{F7109ABF-1482-4DD7-9FC3-A037A00C9FBD}"/>
              </a:ext>
            </a:extLst>
          </p:cNvPr>
          <p:cNvSpPr/>
          <p:nvPr/>
        </p:nvSpPr>
        <p:spPr>
          <a:xfrm>
            <a:off x="0" y="0"/>
            <a:ext cx="61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3" name="Прямокутник 12">
            <a:extLst>
              <a:ext uri="{FF2B5EF4-FFF2-40B4-BE49-F238E27FC236}">
                <a16:creationId xmlns:a16="http://schemas.microsoft.com/office/drawing/2014/main" id="{C0396F26-6545-481D-97B2-55ACC4FA80FF}"/>
              </a:ext>
            </a:extLst>
          </p:cNvPr>
          <p:cNvSpPr/>
          <p:nvPr/>
        </p:nvSpPr>
        <p:spPr>
          <a:xfrm>
            <a:off x="11580000" y="838200"/>
            <a:ext cx="612000" cy="6019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pic>
        <p:nvPicPr>
          <p:cNvPr id="3" name="Рисунок 2">
            <a:extLst>
              <a:ext uri="{FF2B5EF4-FFF2-40B4-BE49-F238E27FC236}">
                <a16:creationId xmlns:a16="http://schemas.microsoft.com/office/drawing/2014/main" id="{C2E8D5B2-D180-E8FB-C89A-D3F1769FC33A}"/>
              </a:ext>
            </a:extLst>
          </p:cNvPr>
          <p:cNvPicPr>
            <a:picLocks noChangeAspect="1"/>
          </p:cNvPicPr>
          <p:nvPr/>
        </p:nvPicPr>
        <p:blipFill>
          <a:blip r:embed="rId6"/>
          <a:stretch>
            <a:fillRect/>
          </a:stretch>
        </p:blipFill>
        <p:spPr>
          <a:xfrm>
            <a:off x="696000" y="645668"/>
            <a:ext cx="10800000" cy="6072537"/>
          </a:xfrm>
          <a:prstGeom prst="rect">
            <a:avLst/>
          </a:prstGeom>
        </p:spPr>
      </p:pic>
      <p:sp>
        <p:nvSpPr>
          <p:cNvPr id="2" name="Овал 1">
            <a:extLst>
              <a:ext uri="{FF2B5EF4-FFF2-40B4-BE49-F238E27FC236}">
                <a16:creationId xmlns:a16="http://schemas.microsoft.com/office/drawing/2014/main" id="{A271A46D-973C-1B67-7EBA-12804BE5E877}"/>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7336521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89F93642-F6EC-2B94-8BCC-5AEDC9329EA6}"/>
              </a:ext>
            </a:extLst>
          </p:cNvPr>
          <p:cNvSpPr>
            <a:spLocks noGrp="1"/>
          </p:cNvSpPr>
          <p:nvPr>
            <p:ph type="body" sz="quarter" idx="10"/>
          </p:nvPr>
        </p:nvSpPr>
        <p:spPr>
          <a:xfrm>
            <a:off x="814919" y="559106"/>
            <a:ext cx="10854072" cy="1080000"/>
          </a:xfrm>
        </p:spPr>
        <p:txBody>
          <a:bodyPr/>
          <a:lstStyle/>
          <a:p>
            <a:r>
              <a:rPr lang="uk-UA" dirty="0">
                <a:solidFill>
                  <a:schemeClr val="accent1"/>
                </a:solidFill>
              </a:rPr>
              <a:t>Кожен слайд має містити </a:t>
            </a:r>
            <a:r>
              <a:rPr lang="en-US" dirty="0">
                <a:solidFill>
                  <a:schemeClr val="accent5"/>
                </a:solidFill>
              </a:rPr>
              <a:t>action title</a:t>
            </a:r>
            <a:r>
              <a:rPr lang="uk-UA" dirty="0">
                <a:solidFill>
                  <a:schemeClr val="accent5"/>
                </a:solidFill>
              </a:rPr>
              <a:t>,</a:t>
            </a:r>
            <a:r>
              <a:rPr lang="uk-UA" dirty="0">
                <a:solidFill>
                  <a:schemeClr val="accent1"/>
                </a:solidFill>
              </a:rPr>
              <a:t> прочитавши який повинна бути зрозуміла суть слайду</a:t>
            </a:r>
            <a:endParaRPr lang="ru-UA" dirty="0">
              <a:solidFill>
                <a:schemeClr val="accent1"/>
              </a:solidFill>
            </a:endParaRPr>
          </a:p>
        </p:txBody>
      </p:sp>
      <p:grpSp>
        <p:nvGrpSpPr>
          <p:cNvPr id="20" name="Группа 19">
            <a:extLst>
              <a:ext uri="{FF2B5EF4-FFF2-40B4-BE49-F238E27FC236}">
                <a16:creationId xmlns:a16="http://schemas.microsoft.com/office/drawing/2014/main" id="{C842020A-FC73-4458-A7D7-A2567B90C516}"/>
              </a:ext>
            </a:extLst>
          </p:cNvPr>
          <p:cNvGrpSpPr/>
          <p:nvPr/>
        </p:nvGrpSpPr>
        <p:grpSpPr>
          <a:xfrm>
            <a:off x="814388" y="2133600"/>
            <a:ext cx="8276272" cy="3947202"/>
            <a:chOff x="814388" y="1989138"/>
            <a:chExt cx="8276272" cy="3947202"/>
          </a:xfrm>
        </p:grpSpPr>
        <p:grpSp>
          <p:nvGrpSpPr>
            <p:cNvPr id="18" name="Группа 17">
              <a:extLst>
                <a:ext uri="{FF2B5EF4-FFF2-40B4-BE49-F238E27FC236}">
                  <a16:creationId xmlns:a16="http://schemas.microsoft.com/office/drawing/2014/main" id="{1F7FA9DC-3AF3-C83C-78C7-DC7AB57AC7F2}"/>
                </a:ext>
              </a:extLst>
            </p:cNvPr>
            <p:cNvGrpSpPr/>
            <p:nvPr/>
          </p:nvGrpSpPr>
          <p:grpSpPr>
            <a:xfrm>
              <a:off x="6097588" y="1989138"/>
              <a:ext cx="2993072" cy="3947202"/>
              <a:chOff x="7969338" y="1989138"/>
              <a:chExt cx="3240000" cy="3947202"/>
            </a:xfrm>
          </p:grpSpPr>
          <p:sp>
            <p:nvSpPr>
              <p:cNvPr id="6" name="Прямокутник 26">
                <a:extLst>
                  <a:ext uri="{FF2B5EF4-FFF2-40B4-BE49-F238E27FC236}">
                    <a16:creationId xmlns:a16="http://schemas.microsoft.com/office/drawing/2014/main" id="{B7B265ED-99A1-AE26-A1B5-E318E8553E91}"/>
                  </a:ext>
                </a:extLst>
              </p:cNvPr>
              <p:cNvSpPr/>
              <p:nvPr/>
            </p:nvSpPr>
            <p:spPr>
              <a:xfrm>
                <a:off x="7969338" y="1989138"/>
                <a:ext cx="3240000" cy="540000"/>
              </a:xfrm>
              <a:prstGeom prst="rect">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uk-UA" sz="1600" b="1" dirty="0">
                    <a:solidFill>
                      <a:schemeClr val="bg1"/>
                    </a:solidFill>
                  </a:rPr>
                  <a:t>Хороший </a:t>
                </a:r>
                <a:r>
                  <a:rPr lang="en-US" sz="1600" b="1" dirty="0">
                    <a:solidFill>
                      <a:schemeClr val="bg1"/>
                    </a:solidFill>
                  </a:rPr>
                  <a:t>AT</a:t>
                </a:r>
                <a:endParaRPr lang="uk-UA" sz="1600" b="1" dirty="0">
                  <a:solidFill>
                    <a:schemeClr val="bg1"/>
                  </a:solidFill>
                </a:endParaRPr>
              </a:p>
            </p:txBody>
          </p:sp>
          <p:sp>
            <p:nvSpPr>
              <p:cNvPr id="8" name="Прямокутник 29">
                <a:extLst>
                  <a:ext uri="{FF2B5EF4-FFF2-40B4-BE49-F238E27FC236}">
                    <a16:creationId xmlns:a16="http://schemas.microsoft.com/office/drawing/2014/main" id="{D7325B1E-BB3E-2850-88A1-B62D33A019E4}"/>
                  </a:ext>
                </a:extLst>
              </p:cNvPr>
              <p:cNvSpPr/>
              <p:nvPr/>
            </p:nvSpPr>
            <p:spPr>
              <a:xfrm>
                <a:off x="7969338" y="2702595"/>
                <a:ext cx="3240000"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uk-UA" sz="1400" dirty="0">
                    <a:solidFill>
                      <a:schemeClr val="tx1"/>
                    </a:solidFill>
                  </a:rPr>
                  <a:t>Узагальнює все сказане на слайді</a:t>
                </a:r>
              </a:p>
            </p:txBody>
          </p:sp>
          <p:sp>
            <p:nvSpPr>
              <p:cNvPr id="11" name="Прямокутник 32">
                <a:extLst>
                  <a:ext uri="{FF2B5EF4-FFF2-40B4-BE49-F238E27FC236}">
                    <a16:creationId xmlns:a16="http://schemas.microsoft.com/office/drawing/2014/main" id="{0685C445-073C-9996-32C8-E91DC085285E}"/>
                  </a:ext>
                </a:extLst>
              </p:cNvPr>
              <p:cNvSpPr/>
              <p:nvPr/>
            </p:nvSpPr>
            <p:spPr>
              <a:xfrm>
                <a:off x="7969338" y="3416052"/>
                <a:ext cx="3240000"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uk-UA" sz="1400" dirty="0">
                    <a:solidFill>
                      <a:schemeClr val="tx1"/>
                    </a:solidFill>
                  </a:rPr>
                  <a:t>1-2 рядки</a:t>
                </a:r>
              </a:p>
            </p:txBody>
          </p:sp>
          <p:sp>
            <p:nvSpPr>
              <p:cNvPr id="14" name="Прямокутник 38">
                <a:extLst>
                  <a:ext uri="{FF2B5EF4-FFF2-40B4-BE49-F238E27FC236}">
                    <a16:creationId xmlns:a16="http://schemas.microsoft.com/office/drawing/2014/main" id="{B56E6A2E-FD57-99BD-92F5-999A7B88BBAC}"/>
                  </a:ext>
                </a:extLst>
              </p:cNvPr>
              <p:cNvSpPr/>
              <p:nvPr/>
            </p:nvSpPr>
            <p:spPr>
              <a:xfrm>
                <a:off x="7969338" y="4129507"/>
                <a:ext cx="3240000" cy="18068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lnSpc>
                    <a:spcPct val="90000"/>
                  </a:lnSpc>
                  <a:buFont typeface="+mj-lt"/>
                  <a:buAutoNum type="arabicPeriod"/>
                </a:pPr>
                <a:r>
                  <a:rPr lang="uk-UA" sz="1400" dirty="0">
                    <a:solidFill>
                      <a:schemeClr val="tx1"/>
                    </a:solidFill>
                  </a:rPr>
                  <a:t>Ріст ринку та сприятливе конкурентне середовище – ключові причини виходу на ринок ХХ</a:t>
                </a:r>
              </a:p>
              <a:p>
                <a:pPr marL="342900" indent="-342900">
                  <a:lnSpc>
                    <a:spcPct val="90000"/>
                  </a:lnSpc>
                  <a:buFont typeface="+mj-lt"/>
                  <a:buAutoNum type="arabicPeriod"/>
                </a:pPr>
                <a:endParaRPr lang="uk-UA" sz="1400" dirty="0">
                  <a:solidFill>
                    <a:schemeClr val="tx1"/>
                  </a:solidFill>
                </a:endParaRPr>
              </a:p>
              <a:p>
                <a:pPr marL="342900" indent="-342900">
                  <a:lnSpc>
                    <a:spcPct val="90000"/>
                  </a:lnSpc>
                  <a:buFont typeface="+mj-lt"/>
                  <a:buAutoNum type="arabicPeriod"/>
                </a:pPr>
                <a:r>
                  <a:rPr lang="uk-UA" sz="1400" dirty="0">
                    <a:solidFill>
                      <a:schemeClr val="tx1"/>
                    </a:solidFill>
                  </a:rPr>
                  <a:t>Ринок кормів щорічно росте на 15% через збільшення кількості домашніх улюбленців у населення</a:t>
                </a:r>
              </a:p>
            </p:txBody>
          </p:sp>
        </p:grpSp>
        <p:grpSp>
          <p:nvGrpSpPr>
            <p:cNvPr id="17" name="Группа 16">
              <a:extLst>
                <a:ext uri="{FF2B5EF4-FFF2-40B4-BE49-F238E27FC236}">
                  <a16:creationId xmlns:a16="http://schemas.microsoft.com/office/drawing/2014/main" id="{D262CBFA-0002-D4C8-F382-A83D8F73B14D}"/>
                </a:ext>
              </a:extLst>
            </p:cNvPr>
            <p:cNvGrpSpPr/>
            <p:nvPr/>
          </p:nvGrpSpPr>
          <p:grpSpPr>
            <a:xfrm>
              <a:off x="3021562" y="1989138"/>
              <a:ext cx="2993072" cy="3947202"/>
              <a:chOff x="3197919" y="1989138"/>
              <a:chExt cx="3240000" cy="3947202"/>
            </a:xfrm>
          </p:grpSpPr>
          <p:sp>
            <p:nvSpPr>
              <p:cNvPr id="7" name="Прямокутник 27">
                <a:extLst>
                  <a:ext uri="{FF2B5EF4-FFF2-40B4-BE49-F238E27FC236}">
                    <a16:creationId xmlns:a16="http://schemas.microsoft.com/office/drawing/2014/main" id="{A03CE73A-73EB-D2FC-FDE5-9EE9AA776042}"/>
                  </a:ext>
                </a:extLst>
              </p:cNvPr>
              <p:cNvSpPr/>
              <p:nvPr/>
            </p:nvSpPr>
            <p:spPr>
              <a:xfrm>
                <a:off x="3197919" y="1989138"/>
                <a:ext cx="3240000" cy="54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uk-UA" sz="1600" b="1" dirty="0">
                    <a:solidFill>
                      <a:schemeClr val="bg1"/>
                    </a:solidFill>
                  </a:rPr>
                  <a:t>Поганий </a:t>
                </a:r>
                <a:r>
                  <a:rPr lang="en-US" sz="1600" b="1" dirty="0">
                    <a:solidFill>
                      <a:schemeClr val="bg1"/>
                    </a:solidFill>
                  </a:rPr>
                  <a:t>AT</a:t>
                </a:r>
                <a:endParaRPr lang="uk-UA" sz="1600" b="1" dirty="0">
                  <a:solidFill>
                    <a:schemeClr val="bg1"/>
                  </a:solidFill>
                </a:endParaRPr>
              </a:p>
            </p:txBody>
          </p:sp>
          <p:sp>
            <p:nvSpPr>
              <p:cNvPr id="9" name="Прямокутник 30">
                <a:extLst>
                  <a:ext uri="{FF2B5EF4-FFF2-40B4-BE49-F238E27FC236}">
                    <a16:creationId xmlns:a16="http://schemas.microsoft.com/office/drawing/2014/main" id="{1486A089-9913-232C-E53B-F0D72ACC3A8C}"/>
                  </a:ext>
                </a:extLst>
              </p:cNvPr>
              <p:cNvSpPr/>
              <p:nvPr/>
            </p:nvSpPr>
            <p:spPr>
              <a:xfrm>
                <a:off x="3197919" y="2702595"/>
                <a:ext cx="3240000"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uk-UA" sz="1400" dirty="0">
                    <a:solidFill>
                      <a:schemeClr val="tx1"/>
                    </a:solidFill>
                  </a:rPr>
                  <a:t>Коментує частину слайду</a:t>
                </a:r>
              </a:p>
            </p:txBody>
          </p:sp>
          <p:sp>
            <p:nvSpPr>
              <p:cNvPr id="12" name="Прямокутник 33">
                <a:extLst>
                  <a:ext uri="{FF2B5EF4-FFF2-40B4-BE49-F238E27FC236}">
                    <a16:creationId xmlns:a16="http://schemas.microsoft.com/office/drawing/2014/main" id="{81EC35D7-AFAE-3DF5-D9EF-B58D222F07F0}"/>
                  </a:ext>
                </a:extLst>
              </p:cNvPr>
              <p:cNvSpPr/>
              <p:nvPr/>
            </p:nvSpPr>
            <p:spPr>
              <a:xfrm>
                <a:off x="3197919" y="3416052"/>
                <a:ext cx="3240000"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pPr>
                <a:r>
                  <a:rPr lang="uk-UA" sz="1400" dirty="0">
                    <a:solidFill>
                      <a:schemeClr val="tx1"/>
                    </a:solidFill>
                  </a:rPr>
                  <a:t>Більше 2 рядків</a:t>
                </a:r>
              </a:p>
            </p:txBody>
          </p:sp>
          <p:sp>
            <p:nvSpPr>
              <p:cNvPr id="15" name="Прямокутник 39">
                <a:extLst>
                  <a:ext uri="{FF2B5EF4-FFF2-40B4-BE49-F238E27FC236}">
                    <a16:creationId xmlns:a16="http://schemas.microsoft.com/office/drawing/2014/main" id="{AD8B5388-FCA7-6597-F7BF-DD09E6AF8FFC}"/>
                  </a:ext>
                </a:extLst>
              </p:cNvPr>
              <p:cNvSpPr/>
              <p:nvPr/>
            </p:nvSpPr>
            <p:spPr>
              <a:xfrm>
                <a:off x="3197919" y="4129507"/>
                <a:ext cx="3240000" cy="18068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lnSpc>
                    <a:spcPct val="90000"/>
                  </a:lnSpc>
                  <a:buFont typeface="+mj-lt"/>
                  <a:buAutoNum type="arabicPeriod"/>
                </a:pPr>
                <a:r>
                  <a:rPr lang="uk-UA" sz="1400" dirty="0">
                    <a:solidFill>
                      <a:schemeClr val="tx1"/>
                    </a:solidFill>
                  </a:rPr>
                  <a:t>Є дві причини виходу на</a:t>
                </a:r>
                <a:br>
                  <a:rPr lang="uk-UA" sz="1400" dirty="0">
                    <a:solidFill>
                      <a:schemeClr val="tx1"/>
                    </a:solidFill>
                  </a:rPr>
                </a:br>
                <a:r>
                  <a:rPr lang="uk-UA" sz="1400" dirty="0">
                    <a:solidFill>
                      <a:schemeClr val="tx1"/>
                    </a:solidFill>
                  </a:rPr>
                  <a:t>ринок ХХ</a:t>
                </a:r>
              </a:p>
              <a:p>
                <a:pPr marL="342900" indent="-342900">
                  <a:lnSpc>
                    <a:spcPct val="90000"/>
                  </a:lnSpc>
                  <a:buFont typeface="+mj-lt"/>
                  <a:buAutoNum type="arabicPeriod"/>
                </a:pPr>
                <a:endParaRPr lang="uk-UA" sz="1400" dirty="0">
                  <a:solidFill>
                    <a:schemeClr val="tx1"/>
                  </a:solidFill>
                </a:endParaRPr>
              </a:p>
              <a:p>
                <a:pPr marL="342900" indent="-342900">
                  <a:lnSpc>
                    <a:spcPct val="90000"/>
                  </a:lnSpc>
                  <a:buFont typeface="+mj-lt"/>
                  <a:buAutoNum type="arabicPeriod"/>
                </a:pPr>
                <a:endParaRPr lang="uk-UA" sz="1400" dirty="0">
                  <a:solidFill>
                    <a:schemeClr val="tx1"/>
                  </a:solidFill>
                </a:endParaRPr>
              </a:p>
              <a:p>
                <a:pPr marL="342900" indent="-342900">
                  <a:lnSpc>
                    <a:spcPct val="90000"/>
                  </a:lnSpc>
                  <a:buFont typeface="+mj-lt"/>
                  <a:buAutoNum type="arabicPeriod"/>
                </a:pPr>
                <a:endParaRPr lang="uk-UA" sz="1400" dirty="0">
                  <a:solidFill>
                    <a:schemeClr val="tx1"/>
                  </a:solidFill>
                </a:endParaRPr>
              </a:p>
              <a:p>
                <a:pPr marL="342900" indent="-342900">
                  <a:lnSpc>
                    <a:spcPct val="90000"/>
                  </a:lnSpc>
                  <a:buFont typeface="+mj-lt"/>
                  <a:buAutoNum type="arabicPeriod"/>
                </a:pPr>
                <a:r>
                  <a:rPr lang="uk-UA" sz="1400" dirty="0">
                    <a:solidFill>
                      <a:schemeClr val="tx1"/>
                    </a:solidFill>
                  </a:rPr>
                  <a:t>Розмір ринку кормів для домашніх тварин</a:t>
                </a:r>
              </a:p>
            </p:txBody>
          </p:sp>
        </p:grpSp>
        <p:grpSp>
          <p:nvGrpSpPr>
            <p:cNvPr id="19" name="Группа 18">
              <a:extLst>
                <a:ext uri="{FF2B5EF4-FFF2-40B4-BE49-F238E27FC236}">
                  <a16:creationId xmlns:a16="http://schemas.microsoft.com/office/drawing/2014/main" id="{37C8B32C-6FBF-FC73-8A39-B14463DDA086}"/>
                </a:ext>
              </a:extLst>
            </p:cNvPr>
            <p:cNvGrpSpPr/>
            <p:nvPr/>
          </p:nvGrpSpPr>
          <p:grpSpPr>
            <a:xfrm>
              <a:off x="814388" y="2702595"/>
              <a:ext cx="2124219" cy="3233745"/>
              <a:chOff x="982663" y="2702595"/>
              <a:chExt cx="2124219" cy="3233745"/>
            </a:xfrm>
          </p:grpSpPr>
          <p:sp>
            <p:nvSpPr>
              <p:cNvPr id="10" name="Прямокутник 31">
                <a:extLst>
                  <a:ext uri="{FF2B5EF4-FFF2-40B4-BE49-F238E27FC236}">
                    <a16:creationId xmlns:a16="http://schemas.microsoft.com/office/drawing/2014/main" id="{9768E3E9-F2BB-3CA4-C320-CEC97938F1F3}"/>
                  </a:ext>
                </a:extLst>
              </p:cNvPr>
              <p:cNvSpPr/>
              <p:nvPr/>
            </p:nvSpPr>
            <p:spPr>
              <a:xfrm>
                <a:off x="982663" y="2702595"/>
                <a:ext cx="2124219" cy="540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uk-UA" sz="1600" b="1" dirty="0">
                    <a:solidFill>
                      <a:schemeClr val="tx1"/>
                    </a:solidFill>
                  </a:rPr>
                  <a:t>Ємність </a:t>
                </a:r>
              </a:p>
            </p:txBody>
          </p:sp>
          <p:sp>
            <p:nvSpPr>
              <p:cNvPr id="13" name="Прямокутник 34">
                <a:extLst>
                  <a:ext uri="{FF2B5EF4-FFF2-40B4-BE49-F238E27FC236}">
                    <a16:creationId xmlns:a16="http://schemas.microsoft.com/office/drawing/2014/main" id="{BED52DFB-3152-1A7F-9066-29F3E0D1EDD0}"/>
                  </a:ext>
                </a:extLst>
              </p:cNvPr>
              <p:cNvSpPr/>
              <p:nvPr/>
            </p:nvSpPr>
            <p:spPr>
              <a:xfrm>
                <a:off x="982663" y="3416052"/>
                <a:ext cx="2124219" cy="5400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uk-UA" sz="1600" b="1" dirty="0">
                    <a:solidFill>
                      <a:schemeClr val="tx1"/>
                    </a:solidFill>
                  </a:rPr>
                  <a:t>Лаконічність </a:t>
                </a:r>
              </a:p>
            </p:txBody>
          </p:sp>
          <p:sp>
            <p:nvSpPr>
              <p:cNvPr id="16" name="Прямокутник 40">
                <a:extLst>
                  <a:ext uri="{FF2B5EF4-FFF2-40B4-BE49-F238E27FC236}">
                    <a16:creationId xmlns:a16="http://schemas.microsoft.com/office/drawing/2014/main" id="{1B07A53D-CD71-F966-ED36-9B47F0E9BB8A}"/>
                  </a:ext>
                </a:extLst>
              </p:cNvPr>
              <p:cNvSpPr/>
              <p:nvPr/>
            </p:nvSpPr>
            <p:spPr>
              <a:xfrm>
                <a:off x="982663" y="4129507"/>
                <a:ext cx="2124219" cy="180683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uk-UA" sz="1600" b="1" dirty="0">
                    <a:solidFill>
                      <a:schemeClr val="tx1"/>
                    </a:solidFill>
                  </a:rPr>
                  <a:t>Інформативність </a:t>
                </a:r>
              </a:p>
            </p:txBody>
          </p:sp>
        </p:grpSp>
      </p:grpSp>
    </p:spTree>
    <p:extLst>
      <p:ext uri="{BB962C8B-B14F-4D97-AF65-F5344CB8AC3E}">
        <p14:creationId xmlns:p14="http://schemas.microsoft.com/office/powerpoint/2010/main" val="970726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pic>
        <p:nvPicPr>
          <p:cNvPr id="4" name="Рисунок 3">
            <a:extLst>
              <a:ext uri="{FF2B5EF4-FFF2-40B4-BE49-F238E27FC236}">
                <a16:creationId xmlns:a16="http://schemas.microsoft.com/office/drawing/2014/main" id="{3321C672-0B0B-4718-8971-388F5E011C50}"/>
              </a:ext>
            </a:extLst>
          </p:cNvPr>
          <p:cNvPicPr>
            <a:picLocks noChangeAspect="1"/>
          </p:cNvPicPr>
          <p:nvPr/>
        </p:nvPicPr>
        <p:blipFill>
          <a:blip r:embed="rId6"/>
          <a:stretch>
            <a:fillRect/>
          </a:stretch>
        </p:blipFill>
        <p:spPr>
          <a:xfrm>
            <a:off x="696000" y="392732"/>
            <a:ext cx="10800000" cy="6072537"/>
          </a:xfrm>
          <a:prstGeom prst="rect">
            <a:avLst/>
          </a:prstGeom>
        </p:spPr>
      </p:pic>
      <p:sp>
        <p:nvSpPr>
          <p:cNvPr id="10" name="Прямокутник 9">
            <a:extLst>
              <a:ext uri="{FF2B5EF4-FFF2-40B4-BE49-F238E27FC236}">
                <a16:creationId xmlns:a16="http://schemas.microsoft.com/office/drawing/2014/main" id="{9B511668-2584-43D4-BD7E-56257105711F}"/>
              </a:ext>
            </a:extLst>
          </p:cNvPr>
          <p:cNvSpPr/>
          <p:nvPr/>
        </p:nvSpPr>
        <p:spPr>
          <a:xfrm>
            <a:off x="0" y="0"/>
            <a:ext cx="61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1" name="Прямокутник 10">
            <a:extLst>
              <a:ext uri="{FF2B5EF4-FFF2-40B4-BE49-F238E27FC236}">
                <a16:creationId xmlns:a16="http://schemas.microsoft.com/office/drawing/2014/main" id="{860901C5-DECB-4F06-84A3-3510B713DD9A}"/>
              </a:ext>
            </a:extLst>
          </p:cNvPr>
          <p:cNvSpPr/>
          <p:nvPr/>
        </p:nvSpPr>
        <p:spPr>
          <a:xfrm>
            <a:off x="11580000" y="838200"/>
            <a:ext cx="612000" cy="6019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2" name="Прямокутник 11">
            <a:extLst>
              <a:ext uri="{FF2B5EF4-FFF2-40B4-BE49-F238E27FC236}">
                <a16:creationId xmlns:a16="http://schemas.microsoft.com/office/drawing/2014/main" id="{F0B9EFCC-D89D-4BE2-921E-09B342582B73}"/>
              </a:ext>
            </a:extLst>
          </p:cNvPr>
          <p:cNvSpPr/>
          <p:nvPr/>
        </p:nvSpPr>
        <p:spPr>
          <a:xfrm>
            <a:off x="11580000" y="0"/>
            <a:ext cx="612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000" dirty="0">
                <a:latin typeface="+mj-lt"/>
              </a:rPr>
              <a:t>2</a:t>
            </a:r>
            <a:endParaRPr lang="ru-UA" sz="2000" dirty="0">
              <a:latin typeface="+mj-lt"/>
            </a:endParaRPr>
          </a:p>
        </p:txBody>
      </p:sp>
      <p:sp>
        <p:nvSpPr>
          <p:cNvPr id="2" name="Овал 1">
            <a:extLst>
              <a:ext uri="{FF2B5EF4-FFF2-40B4-BE49-F238E27FC236}">
                <a16:creationId xmlns:a16="http://schemas.microsoft.com/office/drawing/2014/main" id="{BDC58488-EDA5-6947-068B-A3C272479570}"/>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58150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err="1">
                <a:solidFill>
                  <a:schemeClr val="accent1"/>
                </a:solidFill>
              </a:rPr>
              <a:t>Розробка</a:t>
            </a:r>
            <a:r>
              <a:rPr lang="ru-RU" dirty="0">
                <a:solidFill>
                  <a:schemeClr val="accent1"/>
                </a:solidFill>
              </a:rPr>
              <a:t> </a:t>
            </a:r>
            <a:r>
              <a:rPr lang="ru-RU" dirty="0" err="1">
                <a:solidFill>
                  <a:schemeClr val="accent1"/>
                </a:solidFill>
              </a:rPr>
              <a:t>презентації</a:t>
            </a:r>
            <a:r>
              <a:rPr lang="ru-RU" dirty="0">
                <a:solidFill>
                  <a:schemeClr val="accent1"/>
                </a:solidFill>
              </a:rPr>
              <a:t> </a:t>
            </a:r>
            <a:r>
              <a:rPr lang="ru-RU" dirty="0" err="1">
                <a:solidFill>
                  <a:schemeClr val="accent1"/>
                </a:solidFill>
              </a:rPr>
              <a:t>включає</a:t>
            </a:r>
            <a:r>
              <a:rPr lang="ru-RU" dirty="0">
                <a:solidFill>
                  <a:schemeClr val="accent1"/>
                </a:solidFill>
              </a:rPr>
              <a:t> в себе </a:t>
            </a:r>
            <a:r>
              <a:rPr lang="ru-RU" dirty="0" err="1">
                <a:solidFill>
                  <a:schemeClr val="accent1"/>
                </a:solidFill>
              </a:rPr>
              <a:t>наповнення</a:t>
            </a:r>
            <a:r>
              <a:rPr lang="ru-RU" dirty="0">
                <a:solidFill>
                  <a:schemeClr val="accent1"/>
                </a:solidFill>
              </a:rPr>
              <a:t> та дизайн</a:t>
            </a:r>
          </a:p>
        </p:txBody>
      </p:sp>
      <p:sp>
        <p:nvSpPr>
          <p:cNvPr id="3" name="Прямокутник: округлені кути 17">
            <a:extLst>
              <a:ext uri="{FF2B5EF4-FFF2-40B4-BE49-F238E27FC236}">
                <a16:creationId xmlns:a16="http://schemas.microsoft.com/office/drawing/2014/main" id="{DA907573-8669-2953-0575-9AB117F7477A}"/>
              </a:ext>
            </a:extLst>
          </p:cNvPr>
          <p:cNvSpPr/>
          <p:nvPr/>
        </p:nvSpPr>
        <p:spPr>
          <a:xfrm>
            <a:off x="814388" y="2133599"/>
            <a:ext cx="3600000" cy="41751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bg1"/>
                </a:solidFill>
                <a:latin typeface="+mj-lt"/>
              </a:rPr>
              <a:t>Як </a:t>
            </a:r>
            <a:r>
              <a:rPr lang="ru-RU" sz="2400" dirty="0" err="1">
                <a:solidFill>
                  <a:schemeClr val="bg1"/>
                </a:solidFill>
                <a:latin typeface="+mj-lt"/>
              </a:rPr>
              <a:t>робити</a:t>
            </a:r>
            <a:r>
              <a:rPr lang="ru-RU" sz="2400" dirty="0">
                <a:solidFill>
                  <a:schemeClr val="bg1"/>
                </a:solidFill>
                <a:latin typeface="+mj-lt"/>
              </a:rPr>
              <a:t> </a:t>
            </a:r>
            <a:r>
              <a:rPr lang="ru-RU" sz="2400" dirty="0" err="1">
                <a:solidFill>
                  <a:schemeClr val="bg1"/>
                </a:solidFill>
                <a:latin typeface="+mj-lt"/>
              </a:rPr>
              <a:t>презентацію</a:t>
            </a:r>
            <a:r>
              <a:rPr lang="ru-RU" sz="2400" dirty="0">
                <a:solidFill>
                  <a:schemeClr val="bg1"/>
                </a:solidFill>
                <a:latin typeface="+mj-lt"/>
              </a:rPr>
              <a:t> </a:t>
            </a:r>
            <a:r>
              <a:rPr lang="ru-RU" sz="2400" dirty="0" err="1">
                <a:solidFill>
                  <a:schemeClr val="bg1"/>
                </a:solidFill>
                <a:latin typeface="+mj-lt"/>
              </a:rPr>
              <a:t>зрозумілою</a:t>
            </a:r>
            <a:endParaRPr lang="ru-RU" sz="2400" dirty="0">
              <a:solidFill>
                <a:schemeClr val="bg1"/>
              </a:solidFill>
              <a:latin typeface="+mj-lt"/>
            </a:endParaRPr>
          </a:p>
        </p:txBody>
      </p:sp>
      <p:sp>
        <p:nvSpPr>
          <p:cNvPr id="6" name="Прямокутник: округлені кути 17">
            <a:extLst>
              <a:ext uri="{FF2B5EF4-FFF2-40B4-BE49-F238E27FC236}">
                <a16:creationId xmlns:a16="http://schemas.microsoft.com/office/drawing/2014/main" id="{022C2468-4946-839D-1137-111C3351D7A6}"/>
              </a:ext>
            </a:extLst>
          </p:cNvPr>
          <p:cNvSpPr/>
          <p:nvPr/>
        </p:nvSpPr>
        <p:spPr>
          <a:xfrm>
            <a:off x="5168179" y="2133599"/>
            <a:ext cx="3600000" cy="41751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a:solidFill>
                  <a:schemeClr val="bg1"/>
                </a:solidFill>
                <a:latin typeface="+mj-lt"/>
              </a:rPr>
              <a:t>Як робити презентацію</a:t>
            </a:r>
            <a:r>
              <a:rPr lang="ru-RU" sz="2400" dirty="0">
                <a:solidFill>
                  <a:schemeClr val="bg1"/>
                </a:solidFill>
                <a:latin typeface="+mj-lt"/>
              </a:rPr>
              <a:t> красивою</a:t>
            </a:r>
          </a:p>
        </p:txBody>
      </p:sp>
      <p:sp>
        <p:nvSpPr>
          <p:cNvPr id="7" name="Овал 6">
            <a:extLst>
              <a:ext uri="{FF2B5EF4-FFF2-40B4-BE49-F238E27FC236}">
                <a16:creationId xmlns:a16="http://schemas.microsoft.com/office/drawing/2014/main" id="{BE3C2C7F-31E6-928D-9EF2-2FB84992D825}"/>
              </a:ext>
            </a:extLst>
          </p:cNvPr>
          <p:cNvSpPr/>
          <p:nvPr/>
        </p:nvSpPr>
        <p:spPr>
          <a:xfrm>
            <a:off x="2344388" y="1863436"/>
            <a:ext cx="540000" cy="5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mj-lt"/>
              </a:rPr>
              <a:t>1</a:t>
            </a:r>
          </a:p>
        </p:txBody>
      </p:sp>
      <p:sp>
        <p:nvSpPr>
          <p:cNvPr id="8" name="Овал 7">
            <a:extLst>
              <a:ext uri="{FF2B5EF4-FFF2-40B4-BE49-F238E27FC236}">
                <a16:creationId xmlns:a16="http://schemas.microsoft.com/office/drawing/2014/main" id="{B883BFF6-7CA0-0836-FA2F-87184D1E9B10}"/>
              </a:ext>
            </a:extLst>
          </p:cNvPr>
          <p:cNvSpPr/>
          <p:nvPr/>
        </p:nvSpPr>
        <p:spPr>
          <a:xfrm>
            <a:off x="6698179" y="1863436"/>
            <a:ext cx="540000" cy="5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mj-lt"/>
              </a:rPr>
              <a:t>2</a:t>
            </a:r>
          </a:p>
        </p:txBody>
      </p:sp>
    </p:spTree>
    <p:extLst>
      <p:ext uri="{BB962C8B-B14F-4D97-AF65-F5344CB8AC3E}">
        <p14:creationId xmlns:p14="http://schemas.microsoft.com/office/powerpoint/2010/main" val="33568347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pic>
        <p:nvPicPr>
          <p:cNvPr id="4" name="Рисунок 3">
            <a:extLst>
              <a:ext uri="{FF2B5EF4-FFF2-40B4-BE49-F238E27FC236}">
                <a16:creationId xmlns:a16="http://schemas.microsoft.com/office/drawing/2014/main" id="{3321C672-0B0B-4718-8971-388F5E011C50}"/>
              </a:ext>
            </a:extLst>
          </p:cNvPr>
          <p:cNvPicPr>
            <a:picLocks noChangeAspect="1"/>
          </p:cNvPicPr>
          <p:nvPr/>
        </p:nvPicPr>
        <p:blipFill>
          <a:blip r:embed="rId6"/>
          <a:stretch>
            <a:fillRect/>
          </a:stretch>
        </p:blipFill>
        <p:spPr>
          <a:xfrm>
            <a:off x="696000" y="1688132"/>
            <a:ext cx="8963634" cy="504000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10" name="Прямокутник 9">
            <a:extLst>
              <a:ext uri="{FF2B5EF4-FFF2-40B4-BE49-F238E27FC236}">
                <a16:creationId xmlns:a16="http://schemas.microsoft.com/office/drawing/2014/main" id="{9B511668-2584-43D4-BD7E-56257105711F}"/>
              </a:ext>
            </a:extLst>
          </p:cNvPr>
          <p:cNvSpPr/>
          <p:nvPr/>
        </p:nvSpPr>
        <p:spPr>
          <a:xfrm>
            <a:off x="0" y="0"/>
            <a:ext cx="61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1" name="Прямокутник 10">
            <a:extLst>
              <a:ext uri="{FF2B5EF4-FFF2-40B4-BE49-F238E27FC236}">
                <a16:creationId xmlns:a16="http://schemas.microsoft.com/office/drawing/2014/main" id="{860901C5-DECB-4F06-84A3-3510B713DD9A}"/>
              </a:ext>
            </a:extLst>
          </p:cNvPr>
          <p:cNvSpPr/>
          <p:nvPr/>
        </p:nvSpPr>
        <p:spPr>
          <a:xfrm>
            <a:off x="11580000" y="838200"/>
            <a:ext cx="612000" cy="6019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3200" dirty="0"/>
          </a:p>
        </p:txBody>
      </p:sp>
      <p:sp>
        <p:nvSpPr>
          <p:cNvPr id="12" name="Прямокутник 11">
            <a:extLst>
              <a:ext uri="{FF2B5EF4-FFF2-40B4-BE49-F238E27FC236}">
                <a16:creationId xmlns:a16="http://schemas.microsoft.com/office/drawing/2014/main" id="{F0B9EFCC-D89D-4BE2-921E-09B342582B73}"/>
              </a:ext>
            </a:extLst>
          </p:cNvPr>
          <p:cNvSpPr/>
          <p:nvPr/>
        </p:nvSpPr>
        <p:spPr>
          <a:xfrm>
            <a:off x="11580000" y="0"/>
            <a:ext cx="612000" cy="72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2000" dirty="0">
                <a:latin typeface="+mj-lt"/>
              </a:rPr>
              <a:t>2</a:t>
            </a:r>
            <a:endParaRPr lang="ru-UA" sz="2000" dirty="0">
              <a:latin typeface="+mj-lt"/>
            </a:endParaRPr>
          </a:p>
        </p:txBody>
      </p:sp>
      <p:sp>
        <p:nvSpPr>
          <p:cNvPr id="14" name="Прямокутник: округлені кути 13">
            <a:extLst>
              <a:ext uri="{FF2B5EF4-FFF2-40B4-BE49-F238E27FC236}">
                <a16:creationId xmlns:a16="http://schemas.microsoft.com/office/drawing/2014/main" id="{53BB09CD-053B-4F6C-8933-6D162B2006D2}"/>
              </a:ext>
            </a:extLst>
          </p:cNvPr>
          <p:cNvSpPr/>
          <p:nvPr/>
        </p:nvSpPr>
        <p:spPr>
          <a:xfrm>
            <a:off x="696000" y="95581"/>
            <a:ext cx="9805162" cy="45922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uk-UA" sz="1400" dirty="0">
                <a:solidFill>
                  <a:schemeClr val="bg1"/>
                </a:solidFill>
                <a:latin typeface="+mj-lt"/>
              </a:rPr>
              <a:t>Компанії </a:t>
            </a:r>
            <a:r>
              <a:rPr lang="en-US" sz="1400" dirty="0">
                <a:solidFill>
                  <a:schemeClr val="bg1"/>
                </a:solidFill>
                <a:latin typeface="+mj-lt"/>
              </a:rPr>
              <a:t>Amazon </a:t>
            </a:r>
            <a:r>
              <a:rPr lang="uk-UA" sz="1400" dirty="0">
                <a:solidFill>
                  <a:schemeClr val="bg1"/>
                </a:solidFill>
                <a:latin typeface="+mj-lt"/>
              </a:rPr>
              <a:t>потрібно сфокусуватися на розвитку її ключових напрямків і закрити неприбуткові</a:t>
            </a:r>
            <a:endParaRPr lang="en-US" sz="1400" dirty="0">
              <a:solidFill>
                <a:schemeClr val="bg1"/>
              </a:solidFill>
              <a:latin typeface="+mj-lt"/>
            </a:endParaRPr>
          </a:p>
        </p:txBody>
      </p:sp>
      <p:sp>
        <p:nvSpPr>
          <p:cNvPr id="15" name="Прямокутник: округлені кути 14">
            <a:extLst>
              <a:ext uri="{FF2B5EF4-FFF2-40B4-BE49-F238E27FC236}">
                <a16:creationId xmlns:a16="http://schemas.microsoft.com/office/drawing/2014/main" id="{E710A4C9-1F39-4984-93E4-8A84B13240F6}"/>
              </a:ext>
            </a:extLst>
          </p:cNvPr>
          <p:cNvSpPr/>
          <p:nvPr/>
        </p:nvSpPr>
        <p:spPr>
          <a:xfrm>
            <a:off x="695999" y="662244"/>
            <a:ext cx="9641533" cy="45922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en-US" sz="1400" dirty="0">
                <a:solidFill>
                  <a:schemeClr val="bg1"/>
                </a:solidFill>
                <a:latin typeface="+mj-lt"/>
              </a:rPr>
              <a:t>Fire Phone, Amazon Dash, Delivery optimization – </a:t>
            </a:r>
            <a:r>
              <a:rPr lang="uk-UA" sz="1400" dirty="0">
                <a:solidFill>
                  <a:schemeClr val="bg1"/>
                </a:solidFill>
                <a:latin typeface="+mj-lt"/>
              </a:rPr>
              <a:t>напрямки, які є збитковими і потребують закриття</a:t>
            </a:r>
            <a:endParaRPr lang="en-US" sz="1400" dirty="0">
              <a:solidFill>
                <a:schemeClr val="bg1"/>
              </a:solidFill>
              <a:latin typeface="+mj-lt"/>
            </a:endParaRPr>
          </a:p>
        </p:txBody>
      </p:sp>
      <p:sp>
        <p:nvSpPr>
          <p:cNvPr id="2" name="Овал 1">
            <a:extLst>
              <a:ext uri="{FF2B5EF4-FFF2-40B4-BE49-F238E27FC236}">
                <a16:creationId xmlns:a16="http://schemas.microsoft.com/office/drawing/2014/main" id="{27A42B84-105C-FDAF-6FC6-F0E2DB56C51F}"/>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2402068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89F93642-F6EC-2B94-8BCC-5AEDC9329EA6}"/>
              </a:ext>
            </a:extLst>
          </p:cNvPr>
          <p:cNvSpPr>
            <a:spLocks noGrp="1"/>
          </p:cNvSpPr>
          <p:nvPr>
            <p:ph type="body" sz="quarter" idx="10"/>
          </p:nvPr>
        </p:nvSpPr>
        <p:spPr>
          <a:xfrm>
            <a:off x="814919" y="559106"/>
            <a:ext cx="10562694" cy="1080000"/>
          </a:xfrm>
        </p:spPr>
        <p:txBody>
          <a:bodyPr/>
          <a:lstStyle/>
          <a:p>
            <a:r>
              <a:rPr lang="uk-UA" dirty="0">
                <a:solidFill>
                  <a:schemeClr val="accent1"/>
                </a:solidFill>
              </a:rPr>
              <a:t>Послідовно всі слайди повинні </a:t>
            </a:r>
            <a:r>
              <a:rPr lang="uk-UA" dirty="0">
                <a:solidFill>
                  <a:schemeClr val="accent5"/>
                </a:solidFill>
              </a:rPr>
              <a:t>складатися в єдину історію</a:t>
            </a:r>
            <a:endParaRPr lang="ru-UA" dirty="0">
              <a:solidFill>
                <a:schemeClr val="accent5"/>
              </a:solidFill>
            </a:endParaRPr>
          </a:p>
        </p:txBody>
      </p:sp>
      <p:grpSp>
        <p:nvGrpSpPr>
          <p:cNvPr id="3" name="Групувати 50">
            <a:extLst>
              <a:ext uri="{FF2B5EF4-FFF2-40B4-BE49-F238E27FC236}">
                <a16:creationId xmlns:a16="http://schemas.microsoft.com/office/drawing/2014/main" id="{ADEFDC3E-04EB-806B-A490-39DED754BA5C}"/>
              </a:ext>
            </a:extLst>
          </p:cNvPr>
          <p:cNvGrpSpPr/>
          <p:nvPr/>
        </p:nvGrpSpPr>
        <p:grpSpPr>
          <a:xfrm>
            <a:off x="1049482" y="2215543"/>
            <a:ext cx="6549082" cy="2305941"/>
            <a:chOff x="991759" y="2215543"/>
            <a:chExt cx="8445996" cy="2305941"/>
          </a:xfrm>
        </p:grpSpPr>
        <p:cxnSp>
          <p:nvCxnSpPr>
            <p:cNvPr id="4" name="Пряма зі стрілкою 33">
              <a:extLst>
                <a:ext uri="{FF2B5EF4-FFF2-40B4-BE49-F238E27FC236}">
                  <a16:creationId xmlns:a16="http://schemas.microsoft.com/office/drawing/2014/main" id="{7EC5BCBD-7387-E707-C1FB-5737B87E2837}"/>
                </a:ext>
              </a:extLst>
            </p:cNvPr>
            <p:cNvCxnSpPr>
              <a:cxnSpLocks/>
            </p:cNvCxnSpPr>
            <p:nvPr/>
          </p:nvCxnSpPr>
          <p:spPr>
            <a:xfrm>
              <a:off x="991759" y="2215543"/>
              <a:ext cx="84459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Пряма зі стрілкою 39">
              <a:extLst>
                <a:ext uri="{FF2B5EF4-FFF2-40B4-BE49-F238E27FC236}">
                  <a16:creationId xmlns:a16="http://schemas.microsoft.com/office/drawing/2014/main" id="{DC690A7D-C409-A0CD-81A1-17F1E05631B5}"/>
                </a:ext>
              </a:extLst>
            </p:cNvPr>
            <p:cNvCxnSpPr>
              <a:cxnSpLocks/>
            </p:cNvCxnSpPr>
            <p:nvPr/>
          </p:nvCxnSpPr>
          <p:spPr>
            <a:xfrm>
              <a:off x="1838809" y="2676731"/>
              <a:ext cx="75989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Пряма зі стрілкою 41">
              <a:extLst>
                <a:ext uri="{FF2B5EF4-FFF2-40B4-BE49-F238E27FC236}">
                  <a16:creationId xmlns:a16="http://schemas.microsoft.com/office/drawing/2014/main" id="{D5F877A8-A8EB-2ADB-8FF6-2375FF20EFC6}"/>
                </a:ext>
              </a:extLst>
            </p:cNvPr>
            <p:cNvCxnSpPr>
              <a:cxnSpLocks/>
            </p:cNvCxnSpPr>
            <p:nvPr/>
          </p:nvCxnSpPr>
          <p:spPr>
            <a:xfrm>
              <a:off x="2685859" y="3137919"/>
              <a:ext cx="67518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Пряма зі стрілкою 43">
              <a:extLst>
                <a:ext uri="{FF2B5EF4-FFF2-40B4-BE49-F238E27FC236}">
                  <a16:creationId xmlns:a16="http://schemas.microsoft.com/office/drawing/2014/main" id="{FE5BC1DE-1425-76B3-8810-0909A56EF477}"/>
                </a:ext>
              </a:extLst>
            </p:cNvPr>
            <p:cNvCxnSpPr>
              <a:cxnSpLocks/>
            </p:cNvCxnSpPr>
            <p:nvPr/>
          </p:nvCxnSpPr>
          <p:spPr>
            <a:xfrm>
              <a:off x="3532909" y="3599107"/>
              <a:ext cx="59048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Пряма зі стрілкою 45">
              <a:extLst>
                <a:ext uri="{FF2B5EF4-FFF2-40B4-BE49-F238E27FC236}">
                  <a16:creationId xmlns:a16="http://schemas.microsoft.com/office/drawing/2014/main" id="{389DB3E7-23A4-F276-2D12-88207B62E4DB}"/>
                </a:ext>
              </a:extLst>
            </p:cNvPr>
            <p:cNvCxnSpPr>
              <a:cxnSpLocks/>
            </p:cNvCxnSpPr>
            <p:nvPr/>
          </p:nvCxnSpPr>
          <p:spPr>
            <a:xfrm>
              <a:off x="4379959" y="4060295"/>
              <a:ext cx="505779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Пряма зі стрілкою 47">
              <a:extLst>
                <a:ext uri="{FF2B5EF4-FFF2-40B4-BE49-F238E27FC236}">
                  <a16:creationId xmlns:a16="http://schemas.microsoft.com/office/drawing/2014/main" id="{65E36B56-C16B-6C27-C77D-9301C25488E0}"/>
                </a:ext>
              </a:extLst>
            </p:cNvPr>
            <p:cNvCxnSpPr>
              <a:cxnSpLocks/>
            </p:cNvCxnSpPr>
            <p:nvPr/>
          </p:nvCxnSpPr>
          <p:spPr>
            <a:xfrm>
              <a:off x="5227011" y="4521484"/>
              <a:ext cx="421074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5" name="Групувати 3">
            <a:extLst>
              <a:ext uri="{FF2B5EF4-FFF2-40B4-BE49-F238E27FC236}">
                <a16:creationId xmlns:a16="http://schemas.microsoft.com/office/drawing/2014/main" id="{D6D3AFC5-4B5C-5CFB-5B30-461AD923098B}"/>
              </a:ext>
            </a:extLst>
          </p:cNvPr>
          <p:cNvGrpSpPr/>
          <p:nvPr/>
        </p:nvGrpSpPr>
        <p:grpSpPr>
          <a:xfrm>
            <a:off x="7897227" y="1989138"/>
            <a:ext cx="1450066" cy="3247536"/>
            <a:chOff x="9559772" y="1989138"/>
            <a:chExt cx="1450066" cy="3247536"/>
          </a:xfrm>
        </p:grpSpPr>
        <p:sp>
          <p:nvSpPr>
            <p:cNvPr id="26" name="Прямокутник 37">
              <a:extLst>
                <a:ext uri="{FF2B5EF4-FFF2-40B4-BE49-F238E27FC236}">
                  <a16:creationId xmlns:a16="http://schemas.microsoft.com/office/drawing/2014/main" id="{553EE9A9-7562-666A-F0F9-11A56BCB2CBB}"/>
                </a:ext>
              </a:extLst>
            </p:cNvPr>
            <p:cNvSpPr/>
            <p:nvPr/>
          </p:nvSpPr>
          <p:spPr>
            <a:xfrm>
              <a:off x="9559772" y="1989138"/>
              <a:ext cx="1450066" cy="277807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grpSp>
          <p:nvGrpSpPr>
            <p:cNvPr id="27" name="Групувати 58">
              <a:extLst>
                <a:ext uri="{FF2B5EF4-FFF2-40B4-BE49-F238E27FC236}">
                  <a16:creationId xmlns:a16="http://schemas.microsoft.com/office/drawing/2014/main" id="{CB1EBE1B-69AE-F553-B6D5-255D8A3C2BD0}"/>
                </a:ext>
              </a:extLst>
            </p:cNvPr>
            <p:cNvGrpSpPr/>
            <p:nvPr/>
          </p:nvGrpSpPr>
          <p:grpSpPr>
            <a:xfrm>
              <a:off x="10104805" y="2174658"/>
              <a:ext cx="360000" cy="2407030"/>
              <a:chOff x="10045013" y="2191809"/>
              <a:chExt cx="360000" cy="2407030"/>
            </a:xfrm>
          </p:grpSpPr>
          <p:sp>
            <p:nvSpPr>
              <p:cNvPr id="29" name="Овал 28">
                <a:extLst>
                  <a:ext uri="{FF2B5EF4-FFF2-40B4-BE49-F238E27FC236}">
                    <a16:creationId xmlns:a16="http://schemas.microsoft.com/office/drawing/2014/main" id="{F6D3858D-B054-24FB-01EB-9A21CFB0CFE1}"/>
                  </a:ext>
                </a:extLst>
              </p:cNvPr>
              <p:cNvSpPr/>
              <p:nvPr/>
            </p:nvSpPr>
            <p:spPr>
              <a:xfrm>
                <a:off x="10045013" y="2191809"/>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1</a:t>
                </a:r>
              </a:p>
            </p:txBody>
          </p:sp>
          <p:sp>
            <p:nvSpPr>
              <p:cNvPr id="30" name="Овал 29">
                <a:extLst>
                  <a:ext uri="{FF2B5EF4-FFF2-40B4-BE49-F238E27FC236}">
                    <a16:creationId xmlns:a16="http://schemas.microsoft.com/office/drawing/2014/main" id="{16F2853E-57E6-D174-BD1D-C2C8BCDE4EAE}"/>
                  </a:ext>
                </a:extLst>
              </p:cNvPr>
              <p:cNvSpPr/>
              <p:nvPr/>
            </p:nvSpPr>
            <p:spPr>
              <a:xfrm>
                <a:off x="10045013" y="2601215"/>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2</a:t>
                </a:r>
              </a:p>
            </p:txBody>
          </p:sp>
          <p:sp>
            <p:nvSpPr>
              <p:cNvPr id="31" name="Овал 30">
                <a:extLst>
                  <a:ext uri="{FF2B5EF4-FFF2-40B4-BE49-F238E27FC236}">
                    <a16:creationId xmlns:a16="http://schemas.microsoft.com/office/drawing/2014/main" id="{1830FCE9-A21F-499C-6BA4-CCEF31D67894}"/>
                  </a:ext>
                </a:extLst>
              </p:cNvPr>
              <p:cNvSpPr/>
              <p:nvPr/>
            </p:nvSpPr>
            <p:spPr>
              <a:xfrm>
                <a:off x="10045013" y="3010621"/>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3</a:t>
                </a:r>
              </a:p>
            </p:txBody>
          </p:sp>
          <p:sp>
            <p:nvSpPr>
              <p:cNvPr id="32" name="Овал 31">
                <a:extLst>
                  <a:ext uri="{FF2B5EF4-FFF2-40B4-BE49-F238E27FC236}">
                    <a16:creationId xmlns:a16="http://schemas.microsoft.com/office/drawing/2014/main" id="{4DB0561C-F92C-CC62-D55A-CF4007024C4E}"/>
                  </a:ext>
                </a:extLst>
              </p:cNvPr>
              <p:cNvSpPr/>
              <p:nvPr/>
            </p:nvSpPr>
            <p:spPr>
              <a:xfrm>
                <a:off x="10045013" y="3420027"/>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4</a:t>
                </a:r>
              </a:p>
            </p:txBody>
          </p:sp>
          <p:sp>
            <p:nvSpPr>
              <p:cNvPr id="33" name="Овал 32">
                <a:extLst>
                  <a:ext uri="{FF2B5EF4-FFF2-40B4-BE49-F238E27FC236}">
                    <a16:creationId xmlns:a16="http://schemas.microsoft.com/office/drawing/2014/main" id="{A72F6A04-13CC-4DB0-18E2-E5A48CEDA03D}"/>
                  </a:ext>
                </a:extLst>
              </p:cNvPr>
              <p:cNvSpPr/>
              <p:nvPr/>
            </p:nvSpPr>
            <p:spPr>
              <a:xfrm>
                <a:off x="10045013" y="3829433"/>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5</a:t>
                </a:r>
              </a:p>
            </p:txBody>
          </p:sp>
          <p:sp>
            <p:nvSpPr>
              <p:cNvPr id="34" name="Овал 33">
                <a:extLst>
                  <a:ext uri="{FF2B5EF4-FFF2-40B4-BE49-F238E27FC236}">
                    <a16:creationId xmlns:a16="http://schemas.microsoft.com/office/drawing/2014/main" id="{8361FE77-DDFC-6EA2-EAEE-0D836F340597}"/>
                  </a:ext>
                </a:extLst>
              </p:cNvPr>
              <p:cNvSpPr/>
              <p:nvPr/>
            </p:nvSpPr>
            <p:spPr>
              <a:xfrm>
                <a:off x="10045013" y="4238839"/>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6</a:t>
                </a:r>
              </a:p>
            </p:txBody>
          </p:sp>
        </p:grpSp>
        <p:sp>
          <p:nvSpPr>
            <p:cNvPr id="28" name="Місце для тексту 14">
              <a:extLst>
                <a:ext uri="{FF2B5EF4-FFF2-40B4-BE49-F238E27FC236}">
                  <a16:creationId xmlns:a16="http://schemas.microsoft.com/office/drawing/2014/main" id="{BD1F3584-E871-F1D8-BCB4-42E9CDFE2B40}"/>
                </a:ext>
              </a:extLst>
            </p:cNvPr>
            <p:cNvSpPr txBox="1">
              <a:spLocks/>
            </p:cNvSpPr>
            <p:nvPr/>
          </p:nvSpPr>
          <p:spPr>
            <a:xfrm>
              <a:off x="9559772" y="4871549"/>
              <a:ext cx="1450066" cy="365125"/>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1100" kern="1200">
                  <a:solidFill>
                    <a:schemeClr val="bg1">
                      <a:lumMod val="6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uk-UA" sz="1400" dirty="0">
                  <a:solidFill>
                    <a:schemeClr val="accent1"/>
                  </a:solidFill>
                  <a:latin typeface="+mj-lt"/>
                </a:rPr>
                <a:t>ПЛАВНА ТА</a:t>
              </a:r>
            </a:p>
            <a:p>
              <a:pPr algn="ctr"/>
              <a:r>
                <a:rPr lang="uk-UA" sz="1400" dirty="0">
                  <a:solidFill>
                    <a:schemeClr val="accent1"/>
                  </a:solidFill>
                  <a:latin typeface="+mj-lt"/>
                </a:rPr>
                <a:t>ПОСЛІДОВНА</a:t>
              </a:r>
            </a:p>
            <a:p>
              <a:pPr algn="ctr"/>
              <a:r>
                <a:rPr lang="uk-UA" sz="1400" dirty="0">
                  <a:solidFill>
                    <a:schemeClr val="accent1"/>
                  </a:solidFill>
                  <a:latin typeface="+mj-lt"/>
                </a:rPr>
                <a:t>ІСТОРІЯ</a:t>
              </a:r>
            </a:p>
          </p:txBody>
        </p:sp>
      </p:grpSp>
      <p:pic>
        <p:nvPicPr>
          <p:cNvPr id="35" name="Рисунок 34">
            <a:extLst>
              <a:ext uri="{FF2B5EF4-FFF2-40B4-BE49-F238E27FC236}">
                <a16:creationId xmlns:a16="http://schemas.microsoft.com/office/drawing/2014/main" id="{EC5BB1AD-71B2-DEF6-243E-2D2A33DD5C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8" y="2014297"/>
            <a:ext cx="3600000" cy="2025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6" name="Рисунок 35">
            <a:extLst>
              <a:ext uri="{FF2B5EF4-FFF2-40B4-BE49-F238E27FC236}">
                <a16:creationId xmlns:a16="http://schemas.microsoft.com/office/drawing/2014/main" id="{A3DC052A-C8B1-B42F-8F31-F0D0A4A0BD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5309" y="2475485"/>
            <a:ext cx="3600000" cy="2025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7" name="Рисунок 36" descr="Изображение выглядит как текст&#10;&#10;Автоматически созданное описание">
            <a:extLst>
              <a:ext uri="{FF2B5EF4-FFF2-40B4-BE49-F238E27FC236}">
                <a16:creationId xmlns:a16="http://schemas.microsoft.com/office/drawing/2014/main" id="{FA74C08A-6841-2420-1ED2-47E8257351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6230" y="2936673"/>
            <a:ext cx="3600000" cy="2025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8" name="Рисунок 37" descr="Изображение выглядит как стол&#10;&#10;Автоматически созданное описание">
            <a:extLst>
              <a:ext uri="{FF2B5EF4-FFF2-40B4-BE49-F238E27FC236}">
                <a16:creationId xmlns:a16="http://schemas.microsoft.com/office/drawing/2014/main" id="{0C9E0C63-7309-2790-2F23-6B280556B1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77151" y="3397861"/>
            <a:ext cx="3600000" cy="2025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9" name="Рисунок 38">
            <a:extLst>
              <a:ext uri="{FF2B5EF4-FFF2-40B4-BE49-F238E27FC236}">
                <a16:creationId xmlns:a16="http://schemas.microsoft.com/office/drawing/2014/main" id="{20D2744B-1635-1C6A-2CAC-DB1E553C4E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98072" y="3859049"/>
            <a:ext cx="3600000" cy="2025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40" name="Рисунок 39" descr="Изображение выглядит как текст&#10;&#10;Автоматически созданное описание">
            <a:extLst>
              <a:ext uri="{FF2B5EF4-FFF2-40B4-BE49-F238E27FC236}">
                <a16:creationId xmlns:a16="http://schemas.microsoft.com/office/drawing/2014/main" id="{E6439414-29AC-6F93-0D8D-1404F39A661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8993" y="4320238"/>
            <a:ext cx="3600000" cy="2025000"/>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4551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1000"/>
                                  </p:stCondLst>
                                  <p:childTnLst>
                                    <p:set>
                                      <p:cBhvr>
                                        <p:cTn id="10" dur="1" fill="hold">
                                          <p:stCondLst>
                                            <p:cond delay="0"/>
                                          </p:stCondLst>
                                        </p:cTn>
                                        <p:tgtEl>
                                          <p:spTgt spid="25"/>
                                        </p:tgtEl>
                                        <p:attrNameLst>
                                          <p:attrName>style.visibility</p:attrName>
                                        </p:attrNameLst>
                                      </p:cBhvr>
                                      <p:to>
                                        <p:strVal val="visible"/>
                                      </p:to>
                                    </p:set>
                                    <p:animEffect transition="in" filter="wipe(up)">
                                      <p:cBhvr>
                                        <p:cTn id="1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89F93642-F6EC-2B94-8BCC-5AEDC9329EA6}"/>
              </a:ext>
            </a:extLst>
          </p:cNvPr>
          <p:cNvSpPr>
            <a:spLocks noGrp="1"/>
          </p:cNvSpPr>
          <p:nvPr>
            <p:ph type="body" sz="quarter" idx="10"/>
          </p:nvPr>
        </p:nvSpPr>
        <p:spPr/>
        <p:txBody>
          <a:bodyPr/>
          <a:lstStyle/>
          <a:p>
            <a:r>
              <a:rPr lang="uk-UA" dirty="0">
                <a:solidFill>
                  <a:schemeClr val="accent1"/>
                </a:solidFill>
              </a:rPr>
              <a:t>Правильна презентація дозволяє не </a:t>
            </a:r>
            <a:r>
              <a:rPr lang="uk-UA" dirty="0" err="1">
                <a:solidFill>
                  <a:schemeClr val="accent1"/>
                </a:solidFill>
              </a:rPr>
              <a:t>нагружати</a:t>
            </a:r>
            <a:r>
              <a:rPr lang="uk-UA" dirty="0">
                <a:solidFill>
                  <a:schemeClr val="accent1"/>
                </a:solidFill>
              </a:rPr>
              <a:t> читача, а допомагати йому розібратися в темі</a:t>
            </a:r>
            <a:endParaRPr lang="ru-UA" dirty="0">
              <a:solidFill>
                <a:schemeClr val="accent1"/>
              </a:solidFill>
            </a:endParaRPr>
          </a:p>
        </p:txBody>
      </p:sp>
    </p:spTree>
    <p:extLst>
      <p:ext uri="{BB962C8B-B14F-4D97-AF65-F5344CB8AC3E}">
        <p14:creationId xmlns:p14="http://schemas.microsoft.com/office/powerpoint/2010/main" val="23447642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єкт 12" hidden="1">
            <a:extLst>
              <a:ext uri="{FF2B5EF4-FFF2-40B4-BE49-F238E27FC236}">
                <a16:creationId xmlns:a16="http://schemas.microsoft.com/office/drawing/2014/main" id="{7909AEAD-20CF-490B-8867-AB72790B38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Об'єкт 12" hidden="1">
                        <a:extLst>
                          <a:ext uri="{FF2B5EF4-FFF2-40B4-BE49-F238E27FC236}">
                            <a16:creationId xmlns:a16="http://schemas.microsoft.com/office/drawing/2014/main" id="{7909AEAD-20CF-490B-8867-AB72790B38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Прямокутник 11">
            <a:extLst>
              <a:ext uri="{FF2B5EF4-FFF2-40B4-BE49-F238E27FC236}">
                <a16:creationId xmlns:a16="http://schemas.microsoft.com/office/drawing/2014/main" id="{A8DD1A9F-5508-4A6C-A093-9C66DCE31F51}"/>
              </a:ext>
            </a:extLst>
          </p:cNvPr>
          <p:cNvSpPr/>
          <p:nvPr/>
        </p:nvSpPr>
        <p:spPr>
          <a:xfrm>
            <a:off x="0" y="0"/>
            <a:ext cx="4284324"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7" name="Прямокутник: округлені кути 6">
            <a:extLst>
              <a:ext uri="{FF2B5EF4-FFF2-40B4-BE49-F238E27FC236}">
                <a16:creationId xmlns:a16="http://schemas.microsoft.com/office/drawing/2014/main" id="{97B1DF1D-B039-4898-8930-BEFF0FD50FD4}"/>
              </a:ext>
            </a:extLst>
          </p:cNvPr>
          <p:cNvSpPr/>
          <p:nvPr/>
        </p:nvSpPr>
        <p:spPr>
          <a:xfrm>
            <a:off x="491445" y="2491298"/>
            <a:ext cx="3301435" cy="187540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2400"/>
              </a:spcAft>
            </a:pPr>
            <a:r>
              <a:rPr lang="ru-RU" sz="2800" dirty="0" err="1">
                <a:solidFill>
                  <a:schemeClr val="tx1"/>
                </a:solidFill>
                <a:latin typeface="+mj-lt"/>
                <a:ea typeface="Roboto Black" panose="02000000000000000000" pitchFamily="2" charset="0"/>
              </a:rPr>
              <a:t>Щоб</a:t>
            </a:r>
            <a:r>
              <a:rPr lang="ru-RU" sz="2800" dirty="0">
                <a:solidFill>
                  <a:schemeClr val="tx1"/>
                </a:solidFill>
                <a:latin typeface="+mj-lt"/>
                <a:ea typeface="Roboto Black" panose="02000000000000000000" pitchFamily="2" charset="0"/>
              </a:rPr>
              <a:t> </a:t>
            </a:r>
            <a:r>
              <a:rPr lang="ru-RU" sz="2800" dirty="0" err="1">
                <a:solidFill>
                  <a:schemeClr val="tx1"/>
                </a:solidFill>
                <a:latin typeface="+mj-lt"/>
                <a:ea typeface="Roboto Black" panose="02000000000000000000" pitchFamily="2" charset="0"/>
              </a:rPr>
              <a:t>людина</a:t>
            </a:r>
            <a:r>
              <a:rPr lang="ru-RU" sz="2800" dirty="0">
                <a:solidFill>
                  <a:schemeClr val="tx1"/>
                </a:solidFill>
                <a:latin typeface="+mj-lt"/>
                <a:ea typeface="Roboto Black" panose="02000000000000000000" pitchFamily="2" charset="0"/>
              </a:rPr>
              <a:t> </a:t>
            </a:r>
            <a:r>
              <a:rPr lang="ru-RU" sz="2800" dirty="0" err="1">
                <a:solidFill>
                  <a:schemeClr val="tx1"/>
                </a:solidFill>
                <a:latin typeface="+mj-lt"/>
                <a:ea typeface="Roboto Black" panose="02000000000000000000" pitchFamily="2" charset="0"/>
              </a:rPr>
              <a:t>змогла</a:t>
            </a:r>
            <a:r>
              <a:rPr lang="ru-RU" sz="2800" dirty="0">
                <a:solidFill>
                  <a:schemeClr val="tx1"/>
                </a:solidFill>
                <a:latin typeface="+mj-lt"/>
                <a:ea typeface="Roboto Black" panose="02000000000000000000" pitchFamily="2" charset="0"/>
              </a:rPr>
              <a:t> </a:t>
            </a:r>
            <a:r>
              <a:rPr lang="ru-RU" sz="2800" dirty="0" err="1">
                <a:solidFill>
                  <a:schemeClr val="tx1"/>
                </a:solidFill>
                <a:latin typeface="+mj-lt"/>
                <a:ea typeface="Roboto Black" panose="02000000000000000000" pitchFamily="2" charset="0"/>
              </a:rPr>
              <a:t>розібратися</a:t>
            </a:r>
            <a:r>
              <a:rPr lang="ru-RU" sz="2800" dirty="0">
                <a:solidFill>
                  <a:schemeClr val="tx1"/>
                </a:solidFill>
                <a:latin typeface="+mj-lt"/>
                <a:ea typeface="Roboto Black" panose="02000000000000000000" pitchFamily="2" charset="0"/>
              </a:rPr>
              <a:t> в </a:t>
            </a:r>
            <a:r>
              <a:rPr lang="ru-RU" sz="2800" dirty="0" err="1">
                <a:solidFill>
                  <a:schemeClr val="tx1"/>
                </a:solidFill>
                <a:latin typeface="+mj-lt"/>
                <a:ea typeface="Roboto Black" panose="02000000000000000000" pitchFamily="2" charset="0"/>
              </a:rPr>
              <a:t>нашій</a:t>
            </a:r>
            <a:r>
              <a:rPr lang="ru-RU" sz="2800" dirty="0">
                <a:solidFill>
                  <a:schemeClr val="tx1"/>
                </a:solidFill>
                <a:latin typeface="+mj-lt"/>
                <a:ea typeface="Roboto Black" panose="02000000000000000000" pitchFamily="2" charset="0"/>
              </a:rPr>
              <a:t> </a:t>
            </a:r>
            <a:r>
              <a:rPr lang="ru-RU" sz="2800" dirty="0" err="1">
                <a:solidFill>
                  <a:schemeClr val="tx1"/>
                </a:solidFill>
                <a:latin typeface="+mj-lt"/>
                <a:ea typeface="Roboto Black" panose="02000000000000000000" pitchFamily="2" charset="0"/>
              </a:rPr>
              <a:t>ідеї</a:t>
            </a:r>
            <a:r>
              <a:rPr lang="ru-RU" sz="2800" dirty="0">
                <a:solidFill>
                  <a:schemeClr val="tx1"/>
                </a:solidFill>
                <a:latin typeface="+mj-lt"/>
                <a:ea typeface="Roboto Black" panose="02000000000000000000" pitchFamily="2" charset="0"/>
              </a:rPr>
              <a:t>, вона повинна </a:t>
            </a:r>
            <a:r>
              <a:rPr lang="ru-RU" sz="2800" dirty="0" err="1">
                <a:solidFill>
                  <a:schemeClr val="tx1"/>
                </a:solidFill>
                <a:latin typeface="+mj-lt"/>
                <a:ea typeface="Roboto Black" panose="02000000000000000000" pitchFamily="2" charset="0"/>
              </a:rPr>
              <a:t>побачити</a:t>
            </a:r>
            <a:r>
              <a:rPr lang="ru-RU" sz="2800" dirty="0">
                <a:solidFill>
                  <a:schemeClr val="tx1"/>
                </a:solidFill>
                <a:latin typeface="+mj-lt"/>
                <a:ea typeface="Roboto Black" panose="02000000000000000000" pitchFamily="2" charset="0"/>
              </a:rPr>
              <a:t> в </a:t>
            </a:r>
            <a:r>
              <a:rPr lang="ru-RU" sz="2800" dirty="0" err="1">
                <a:solidFill>
                  <a:schemeClr val="tx1"/>
                </a:solidFill>
                <a:latin typeface="+mj-lt"/>
                <a:ea typeface="Roboto Black" panose="02000000000000000000" pitchFamily="2" charset="0"/>
              </a:rPr>
              <a:t>голові</a:t>
            </a:r>
            <a:r>
              <a:rPr lang="ru-RU" sz="2800" dirty="0">
                <a:solidFill>
                  <a:schemeClr val="tx1"/>
                </a:solidFill>
                <a:latin typeface="+mj-lt"/>
                <a:ea typeface="Roboto Black" panose="02000000000000000000" pitchFamily="2" charset="0"/>
              </a:rPr>
              <a:t> </a:t>
            </a:r>
            <a:r>
              <a:rPr lang="ru-RU" sz="2800" dirty="0" err="1">
                <a:solidFill>
                  <a:schemeClr val="tx1"/>
                </a:solidFill>
                <a:latin typeface="+mj-lt"/>
                <a:ea typeface="Roboto Black" panose="02000000000000000000" pitchFamily="2" charset="0"/>
              </a:rPr>
              <a:t>щось</a:t>
            </a:r>
            <a:r>
              <a:rPr lang="ru-RU" sz="2800" dirty="0">
                <a:solidFill>
                  <a:schemeClr val="tx1"/>
                </a:solidFill>
                <a:latin typeface="+mj-lt"/>
                <a:ea typeface="Roboto Black" panose="02000000000000000000" pitchFamily="2" charset="0"/>
              </a:rPr>
              <a:t> схоже на </a:t>
            </a:r>
            <a:r>
              <a:rPr lang="ru-RU" sz="2800" dirty="0" err="1">
                <a:solidFill>
                  <a:schemeClr val="tx1"/>
                </a:solidFill>
                <a:latin typeface="+mj-lt"/>
                <a:ea typeface="Roboto Black" panose="02000000000000000000" pitchFamily="2" charset="0"/>
              </a:rPr>
              <a:t>художній</a:t>
            </a:r>
            <a:r>
              <a:rPr lang="ru-RU" sz="2800" dirty="0">
                <a:solidFill>
                  <a:schemeClr val="tx1"/>
                </a:solidFill>
                <a:latin typeface="+mj-lt"/>
                <a:ea typeface="Roboto Black" panose="02000000000000000000" pitchFamily="2" charset="0"/>
              </a:rPr>
              <a:t> </a:t>
            </a:r>
            <a:r>
              <a:rPr lang="ru-RU" sz="2800" dirty="0" err="1">
                <a:solidFill>
                  <a:schemeClr val="tx1"/>
                </a:solidFill>
                <a:latin typeface="+mj-lt"/>
                <a:ea typeface="Roboto Black" panose="02000000000000000000" pitchFamily="2" charset="0"/>
              </a:rPr>
              <a:t>фільм</a:t>
            </a:r>
            <a:endParaRPr lang="en-US" sz="2800" dirty="0">
              <a:solidFill>
                <a:schemeClr val="tx1"/>
              </a:solidFill>
              <a:latin typeface="+mj-lt"/>
              <a:ea typeface="Roboto Black" panose="02000000000000000000" pitchFamily="2" charset="0"/>
            </a:endParaRPr>
          </a:p>
        </p:txBody>
      </p:sp>
      <p:pic>
        <p:nvPicPr>
          <p:cNvPr id="8" name="Графіка 7" descr="Open quotation mark with solid fill">
            <a:extLst>
              <a:ext uri="{FF2B5EF4-FFF2-40B4-BE49-F238E27FC236}">
                <a16:creationId xmlns:a16="http://schemas.microsoft.com/office/drawing/2014/main" id="{26082B52-16C1-4028-971A-51DC6C6664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5413" y="170558"/>
            <a:ext cx="1098883" cy="1098883"/>
          </a:xfrm>
          <a:prstGeom prst="rect">
            <a:avLst/>
          </a:prstGeom>
        </p:spPr>
      </p:pic>
      <p:sp>
        <p:nvSpPr>
          <p:cNvPr id="3" name="Бульбашка думок: хмарка 2">
            <a:extLst>
              <a:ext uri="{FF2B5EF4-FFF2-40B4-BE49-F238E27FC236}">
                <a16:creationId xmlns:a16="http://schemas.microsoft.com/office/drawing/2014/main" id="{82C49507-0FFF-4B99-B27C-FE8738FC1BF3}"/>
              </a:ext>
            </a:extLst>
          </p:cNvPr>
          <p:cNvSpPr/>
          <p:nvPr/>
        </p:nvSpPr>
        <p:spPr>
          <a:xfrm>
            <a:off x="7674795" y="476804"/>
            <a:ext cx="2809197" cy="1728000"/>
          </a:xfrm>
          <a:prstGeom prst="cloudCallout">
            <a:avLst>
              <a:gd name="adj1" fmla="val -83007"/>
              <a:gd name="adj2" fmla="val 496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9" name="Бульбашка думок: хмарка 8">
            <a:extLst>
              <a:ext uri="{FF2B5EF4-FFF2-40B4-BE49-F238E27FC236}">
                <a16:creationId xmlns:a16="http://schemas.microsoft.com/office/drawing/2014/main" id="{1089C3E9-BBE7-43F3-976A-289DE139A8D5}"/>
              </a:ext>
            </a:extLst>
          </p:cNvPr>
          <p:cNvSpPr/>
          <p:nvPr/>
        </p:nvSpPr>
        <p:spPr>
          <a:xfrm>
            <a:off x="7674795" y="2565001"/>
            <a:ext cx="2809197" cy="1728000"/>
          </a:xfrm>
          <a:prstGeom prst="cloudCallout">
            <a:avLst>
              <a:gd name="adj1" fmla="val -81910"/>
              <a:gd name="adj2" fmla="val -1573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0" name="Бульбашка думок: хмарка 9">
            <a:extLst>
              <a:ext uri="{FF2B5EF4-FFF2-40B4-BE49-F238E27FC236}">
                <a16:creationId xmlns:a16="http://schemas.microsoft.com/office/drawing/2014/main" id="{1ECDD53F-898D-4DDA-A634-F3DA20A20CB2}"/>
              </a:ext>
            </a:extLst>
          </p:cNvPr>
          <p:cNvSpPr/>
          <p:nvPr/>
        </p:nvSpPr>
        <p:spPr>
          <a:xfrm>
            <a:off x="7674795" y="4653197"/>
            <a:ext cx="2809197" cy="1728000"/>
          </a:xfrm>
          <a:prstGeom prst="cloudCallout">
            <a:avLst>
              <a:gd name="adj1" fmla="val -84836"/>
              <a:gd name="adj2" fmla="val -7460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pic>
        <p:nvPicPr>
          <p:cNvPr id="11" name="Рисунок 10">
            <a:extLst>
              <a:ext uri="{FF2B5EF4-FFF2-40B4-BE49-F238E27FC236}">
                <a16:creationId xmlns:a16="http://schemas.microsoft.com/office/drawing/2014/main" id="{39A68FB1-B2BC-4A5D-9D0D-26D9D792331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71109" y="2564999"/>
            <a:ext cx="1728002" cy="1728002"/>
          </a:xfrm>
          <a:prstGeom prst="rect">
            <a:avLst/>
          </a:prstGeom>
        </p:spPr>
      </p:pic>
      <p:pic>
        <p:nvPicPr>
          <p:cNvPr id="16" name="Рисунок 15">
            <a:extLst>
              <a:ext uri="{FF2B5EF4-FFF2-40B4-BE49-F238E27FC236}">
                <a16:creationId xmlns:a16="http://schemas.microsoft.com/office/drawing/2014/main" id="{487E854F-9810-45C1-B5D6-0DD65B09FE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29393" y="2921851"/>
            <a:ext cx="900000" cy="900000"/>
          </a:xfrm>
          <a:prstGeom prst="rect">
            <a:avLst/>
          </a:prstGeom>
        </p:spPr>
      </p:pic>
      <p:pic>
        <p:nvPicPr>
          <p:cNvPr id="18" name="Рисунок 17">
            <a:extLst>
              <a:ext uri="{FF2B5EF4-FFF2-40B4-BE49-F238E27FC236}">
                <a16:creationId xmlns:a16="http://schemas.microsoft.com/office/drawing/2014/main" id="{BC1437E2-5CF7-4CEA-8065-7D62AF4D760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29393" y="890804"/>
            <a:ext cx="900000" cy="900000"/>
          </a:xfrm>
          <a:prstGeom prst="rect">
            <a:avLst/>
          </a:prstGeom>
        </p:spPr>
      </p:pic>
      <p:pic>
        <p:nvPicPr>
          <p:cNvPr id="20" name="Рисунок 19">
            <a:extLst>
              <a:ext uri="{FF2B5EF4-FFF2-40B4-BE49-F238E27FC236}">
                <a16:creationId xmlns:a16="http://schemas.microsoft.com/office/drawing/2014/main" id="{1E5AFC73-356E-4951-A60E-ACBA19EB181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29393" y="5086247"/>
            <a:ext cx="900000" cy="900000"/>
          </a:xfrm>
          <a:prstGeom prst="rect">
            <a:avLst/>
          </a:prstGeom>
        </p:spPr>
      </p:pic>
    </p:spTree>
    <p:extLst>
      <p:ext uri="{BB962C8B-B14F-4D97-AF65-F5344CB8AC3E}">
        <p14:creationId xmlns:p14="http://schemas.microsoft.com/office/powerpoint/2010/main" val="381231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6">
            <a:hlinkClick r:id="rId2"/>
            <a:extLst>
              <a:ext uri="{FF2B5EF4-FFF2-40B4-BE49-F238E27FC236}">
                <a16:creationId xmlns:a16="http://schemas.microsoft.com/office/drawing/2014/main" id="{9D1AE91C-C905-41BA-9C4D-E373A31B077B}"/>
              </a:ext>
            </a:extLst>
          </p:cNvPr>
          <p:cNvPicPr>
            <a:picLocks noChangeAspect="1"/>
          </p:cNvPicPr>
          <p:nvPr/>
        </p:nvPicPr>
        <p:blipFill>
          <a:blip r:embed="rId3"/>
          <a:stretch>
            <a:fillRect/>
          </a:stretch>
        </p:blipFill>
        <p:spPr>
          <a:xfrm>
            <a:off x="1535420" y="1196704"/>
            <a:ext cx="9121161" cy="4464593"/>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 name="Прямокутник 1">
            <a:extLst>
              <a:ext uri="{FF2B5EF4-FFF2-40B4-BE49-F238E27FC236}">
                <a16:creationId xmlns:a16="http://schemas.microsoft.com/office/drawing/2014/main" id="{59F45B24-7819-4F23-A26D-2CE8759B6DB0}"/>
              </a:ext>
            </a:extLst>
          </p:cNvPr>
          <p:cNvSpPr/>
          <p:nvPr/>
        </p:nvSpPr>
        <p:spPr>
          <a:xfrm>
            <a:off x="3557641" y="3053992"/>
            <a:ext cx="4962418" cy="688369"/>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grpSp>
        <p:nvGrpSpPr>
          <p:cNvPr id="6" name="Групувати 5">
            <a:extLst>
              <a:ext uri="{FF2B5EF4-FFF2-40B4-BE49-F238E27FC236}">
                <a16:creationId xmlns:a16="http://schemas.microsoft.com/office/drawing/2014/main" id="{6FBFC3E6-6312-46B4-986A-49BFF1ABA32C}"/>
              </a:ext>
            </a:extLst>
          </p:cNvPr>
          <p:cNvGrpSpPr/>
          <p:nvPr/>
        </p:nvGrpSpPr>
        <p:grpSpPr>
          <a:xfrm>
            <a:off x="509382" y="3195000"/>
            <a:ext cx="468000" cy="468000"/>
            <a:chOff x="11063216" y="3495782"/>
            <a:chExt cx="468000" cy="468000"/>
          </a:xfrm>
        </p:grpSpPr>
        <p:sp>
          <p:nvSpPr>
            <p:cNvPr id="8" name="Овал 7">
              <a:extLst>
                <a:ext uri="{FF2B5EF4-FFF2-40B4-BE49-F238E27FC236}">
                  <a16:creationId xmlns:a16="http://schemas.microsoft.com/office/drawing/2014/main" id="{50B48491-76FE-45C9-BA9D-0C5BC1C41366}"/>
                </a:ext>
              </a:extLst>
            </p:cNvPr>
            <p:cNvSpPr/>
            <p:nvPr/>
          </p:nvSpPr>
          <p:spPr>
            <a:xfrm>
              <a:off x="11117216" y="3526728"/>
              <a:ext cx="360000" cy="36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9" name="WordArt 3">
              <a:extLst>
                <a:ext uri="{FF2B5EF4-FFF2-40B4-BE49-F238E27FC236}">
                  <a16:creationId xmlns:a16="http://schemas.microsoft.com/office/drawing/2014/main" id="{51993D76-AF42-4992-A1A0-37A2C6DD434E}"/>
                </a:ext>
              </a:extLst>
            </p:cNvPr>
            <p:cNvSpPr>
              <a:spLocks noChangeArrowheads="1" noChangeShapeType="1" noTextEdit="1"/>
            </p:cNvSpPr>
            <p:nvPr/>
          </p:nvSpPr>
          <p:spPr bwMode="auto">
            <a:xfrm>
              <a:off x="11063216" y="3495782"/>
              <a:ext cx="468000" cy="468000"/>
            </a:xfrm>
            <a:prstGeom prst="rect">
              <a:avLst/>
            </a:prstGeom>
            <a:extLst>
              <a:ext uri="{AF507438-7753-43E0-B8FC-AC1667EBCBE1}">
                <a14:hiddenEffects xmlns:a14="http://schemas.microsoft.com/office/drawing/2010/main">
                  <a:effectLst/>
                </a14:hiddenEffects>
              </a:ext>
            </a:extLst>
          </p:spPr>
          <p:txBody>
            <a:bodyPr wrap="none" fromWordArt="1">
              <a:prstTxWarp prst="textArchDown">
                <a:avLst>
                  <a:gd name="adj" fmla="val 2261353"/>
                </a:avLst>
              </a:prstTxWarp>
            </a:bodyPr>
            <a:lstStyle/>
            <a:p>
              <a:pPr algn="ctr" rtl="0">
                <a:buNone/>
              </a:pPr>
              <a:r>
                <a:rPr lang="uk-UA" sz="800" dirty="0">
                  <a:latin typeface="Ermilov" panose="02000000000000000000" pitchFamily="50" charset="-52"/>
                </a:rPr>
                <a:t>Клікайте </a:t>
              </a:r>
              <a:endParaRPr lang="uk-UA" sz="800" kern="10" spc="0" dirty="0">
                <a:ln w="9525">
                  <a:solidFill>
                    <a:srgbClr val="000000"/>
                  </a:solidFill>
                  <a:round/>
                  <a:headEnd/>
                  <a:tailEnd/>
                </a:ln>
                <a:solidFill>
                  <a:srgbClr val="000000"/>
                </a:solidFill>
                <a:effectLst/>
                <a:latin typeface="Calibri Light" panose="020F0302020204030204" pitchFamily="34" charset="0"/>
              </a:endParaRPr>
            </a:p>
          </p:txBody>
        </p:sp>
        <p:pic>
          <p:nvPicPr>
            <p:cNvPr id="10" name="Графіка 9" descr="Cursor with solid fill">
              <a:extLst>
                <a:ext uri="{FF2B5EF4-FFF2-40B4-BE49-F238E27FC236}">
                  <a16:creationId xmlns:a16="http://schemas.microsoft.com/office/drawing/2014/main" id="{AA56A18D-6919-415E-90FC-E7C4B70D82B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9216" y="3598728"/>
              <a:ext cx="216000" cy="216000"/>
            </a:xfrm>
            <a:prstGeom prst="rect">
              <a:avLst/>
            </a:prstGeom>
          </p:spPr>
        </p:pic>
      </p:grpSp>
    </p:spTree>
    <p:extLst>
      <p:ext uri="{BB962C8B-B14F-4D97-AF65-F5344CB8AC3E}">
        <p14:creationId xmlns:p14="http://schemas.microsoft.com/office/powerpoint/2010/main" val="8886830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Групувати 5">
            <a:extLst>
              <a:ext uri="{FF2B5EF4-FFF2-40B4-BE49-F238E27FC236}">
                <a16:creationId xmlns:a16="http://schemas.microsoft.com/office/drawing/2014/main" id="{6FBFC3E6-6312-46B4-986A-49BFF1ABA32C}"/>
              </a:ext>
            </a:extLst>
          </p:cNvPr>
          <p:cNvGrpSpPr/>
          <p:nvPr/>
        </p:nvGrpSpPr>
        <p:grpSpPr>
          <a:xfrm>
            <a:off x="509382" y="3195000"/>
            <a:ext cx="468000" cy="468000"/>
            <a:chOff x="11063216" y="3495782"/>
            <a:chExt cx="468000" cy="468000"/>
          </a:xfrm>
        </p:grpSpPr>
        <p:sp>
          <p:nvSpPr>
            <p:cNvPr id="8" name="Овал 7">
              <a:extLst>
                <a:ext uri="{FF2B5EF4-FFF2-40B4-BE49-F238E27FC236}">
                  <a16:creationId xmlns:a16="http://schemas.microsoft.com/office/drawing/2014/main" id="{50B48491-76FE-45C9-BA9D-0C5BC1C41366}"/>
                </a:ext>
              </a:extLst>
            </p:cNvPr>
            <p:cNvSpPr/>
            <p:nvPr/>
          </p:nvSpPr>
          <p:spPr>
            <a:xfrm>
              <a:off x="11117216" y="3526728"/>
              <a:ext cx="360000" cy="36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9" name="WordArt 3">
              <a:extLst>
                <a:ext uri="{FF2B5EF4-FFF2-40B4-BE49-F238E27FC236}">
                  <a16:creationId xmlns:a16="http://schemas.microsoft.com/office/drawing/2014/main" id="{51993D76-AF42-4992-A1A0-37A2C6DD434E}"/>
                </a:ext>
              </a:extLst>
            </p:cNvPr>
            <p:cNvSpPr>
              <a:spLocks noChangeArrowheads="1" noChangeShapeType="1" noTextEdit="1"/>
            </p:cNvSpPr>
            <p:nvPr/>
          </p:nvSpPr>
          <p:spPr bwMode="auto">
            <a:xfrm>
              <a:off x="11063216" y="3495782"/>
              <a:ext cx="468000" cy="468000"/>
            </a:xfrm>
            <a:prstGeom prst="rect">
              <a:avLst/>
            </a:prstGeom>
            <a:extLst>
              <a:ext uri="{AF507438-7753-43E0-B8FC-AC1667EBCBE1}">
                <a14:hiddenEffects xmlns:a14="http://schemas.microsoft.com/office/drawing/2010/main">
                  <a:effectLst/>
                </a14:hiddenEffects>
              </a:ext>
            </a:extLst>
          </p:spPr>
          <p:txBody>
            <a:bodyPr wrap="none" fromWordArt="1">
              <a:prstTxWarp prst="textArchDown">
                <a:avLst>
                  <a:gd name="adj" fmla="val 2261353"/>
                </a:avLst>
              </a:prstTxWarp>
            </a:bodyPr>
            <a:lstStyle/>
            <a:p>
              <a:pPr algn="ctr" rtl="0">
                <a:buNone/>
              </a:pPr>
              <a:r>
                <a:rPr lang="uk-UA" sz="800" dirty="0">
                  <a:latin typeface="Ermilov" panose="02000000000000000000" pitchFamily="50" charset="-52"/>
                </a:rPr>
                <a:t>Клікайте </a:t>
              </a:r>
              <a:endParaRPr lang="uk-UA" sz="800" kern="10" spc="0" dirty="0">
                <a:ln w="9525">
                  <a:solidFill>
                    <a:srgbClr val="000000"/>
                  </a:solidFill>
                  <a:round/>
                  <a:headEnd/>
                  <a:tailEnd/>
                </a:ln>
                <a:solidFill>
                  <a:srgbClr val="000000"/>
                </a:solidFill>
                <a:effectLst/>
                <a:latin typeface="Calibri Light" panose="020F0302020204030204" pitchFamily="34" charset="0"/>
              </a:endParaRPr>
            </a:p>
          </p:txBody>
        </p:sp>
        <p:pic>
          <p:nvPicPr>
            <p:cNvPr id="10" name="Графіка 9" descr="Cursor with solid fill">
              <a:extLst>
                <a:ext uri="{FF2B5EF4-FFF2-40B4-BE49-F238E27FC236}">
                  <a16:creationId xmlns:a16="http://schemas.microsoft.com/office/drawing/2014/main" id="{AA56A18D-6919-415E-90FC-E7C4B70D82B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89216" y="3598728"/>
              <a:ext cx="216000" cy="216000"/>
            </a:xfrm>
            <a:prstGeom prst="rect">
              <a:avLst/>
            </a:prstGeom>
          </p:spPr>
        </p:pic>
      </p:grpSp>
      <p:sp>
        <p:nvSpPr>
          <p:cNvPr id="11" name="Прямокутник 10">
            <a:hlinkClick r:id="rId4"/>
            <a:extLst>
              <a:ext uri="{FF2B5EF4-FFF2-40B4-BE49-F238E27FC236}">
                <a16:creationId xmlns:a16="http://schemas.microsoft.com/office/drawing/2014/main" id="{B245C028-2211-4912-ABD1-FA2987C06E42}"/>
              </a:ext>
            </a:extLst>
          </p:cNvPr>
          <p:cNvSpPr/>
          <p:nvPr/>
        </p:nvSpPr>
        <p:spPr>
          <a:xfrm>
            <a:off x="1346790" y="493981"/>
            <a:ext cx="6819014" cy="721205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uk-UA" sz="900" b="0" i="0" dirty="0">
                <a:solidFill>
                  <a:srgbClr val="212529"/>
                </a:solidFill>
                <a:effectLst/>
              </a:rPr>
              <a:t>Стаття 1. Визначення термінів</a:t>
            </a:r>
          </a:p>
          <a:p>
            <a:pPr algn="l"/>
            <a:endParaRPr lang="uk-UA" sz="900" b="0" i="0" dirty="0">
              <a:solidFill>
                <a:srgbClr val="212529"/>
              </a:solidFill>
              <a:effectLst/>
            </a:endParaRPr>
          </a:p>
          <a:p>
            <a:pPr algn="l"/>
            <a:r>
              <a:rPr lang="uk-UA" sz="900" b="0" i="0" dirty="0">
                <a:solidFill>
                  <a:srgbClr val="212529"/>
                </a:solidFill>
                <a:effectLst/>
              </a:rPr>
              <a:t>У цьому Законі нижчезазначені терміни вживаються в такому значенні:</a:t>
            </a:r>
          </a:p>
          <a:p>
            <a:pPr algn="l"/>
            <a:endParaRPr lang="uk-UA" sz="900" b="0" i="0" dirty="0">
              <a:solidFill>
                <a:srgbClr val="212529"/>
              </a:solidFill>
              <a:effectLst/>
            </a:endParaRPr>
          </a:p>
          <a:p>
            <a:pPr algn="l"/>
            <a:r>
              <a:rPr lang="uk-UA" sz="900" b="0" i="0" dirty="0">
                <a:solidFill>
                  <a:srgbClr val="212529"/>
                </a:solidFill>
                <a:effectLst/>
              </a:rPr>
              <a:t>державний нагляд (контроль) - діяльність уповноважених законом центральних органів виконавчої влади, їх територіальних органів, державних колегіальних органів, органів виконавчої влади Автономної Республіки Крим, місцевих державних адміністрацій, органів місцевого самоврядування (далі - органи державного нагляду (контролю)) в межах повноважень, передбачених законом, щодо виявлення та запобігання порушенням вимог законодавства суб'єктами господарювання та забезпечення інтересів суспільства, зокрема належної якості продукції, робіт та послуг, допустимого рівня небезпеки для населення, навколишнього природного середовища;</a:t>
            </a:r>
          </a:p>
          <a:p>
            <a:pPr algn="l"/>
            <a:endParaRPr lang="uk-UA" sz="900" b="0" i="0" dirty="0">
              <a:solidFill>
                <a:srgbClr val="212529"/>
              </a:solidFill>
              <a:effectLst/>
            </a:endParaRPr>
          </a:p>
          <a:p>
            <a:pPr algn="l"/>
            <a:r>
              <a:rPr lang="uk-UA" sz="900" b="0" i="0" dirty="0">
                <a:solidFill>
                  <a:srgbClr val="212529"/>
                </a:solidFill>
                <a:effectLst/>
              </a:rPr>
              <a:t>{Абзац другий статті 1 із змінами, внесеними згідно із Законами № 2399-</a:t>
            </a:r>
            <a:r>
              <a:rPr lang="en-US" sz="900" b="0" i="0" dirty="0">
                <a:solidFill>
                  <a:srgbClr val="212529"/>
                </a:solidFill>
                <a:effectLst/>
              </a:rPr>
              <a:t>VI </a:t>
            </a:r>
            <a:r>
              <a:rPr lang="uk-UA" sz="900" b="0" i="0" dirty="0">
                <a:solidFill>
                  <a:srgbClr val="212529"/>
                </a:solidFill>
                <a:effectLst/>
              </a:rPr>
              <a:t>від 01.07.2010, № 3530-</a:t>
            </a:r>
            <a:r>
              <a:rPr lang="en-US" sz="900" b="0" i="0" dirty="0">
                <a:solidFill>
                  <a:srgbClr val="212529"/>
                </a:solidFill>
                <a:effectLst/>
              </a:rPr>
              <a:t>VI </a:t>
            </a:r>
            <a:r>
              <a:rPr lang="uk-UA" sz="900" b="0" i="0" dirty="0">
                <a:solidFill>
                  <a:srgbClr val="212529"/>
                </a:solidFill>
                <a:effectLst/>
              </a:rPr>
              <a:t>від 16.06.2011, № 3610-</a:t>
            </a:r>
            <a:r>
              <a:rPr lang="en-US" sz="900" b="0" i="0" dirty="0">
                <a:solidFill>
                  <a:srgbClr val="212529"/>
                </a:solidFill>
                <a:effectLst/>
              </a:rPr>
              <a:t>VI </a:t>
            </a:r>
            <a:r>
              <a:rPr lang="uk-UA" sz="900" b="0" i="0" dirty="0">
                <a:solidFill>
                  <a:srgbClr val="212529"/>
                </a:solidFill>
                <a:effectLst/>
              </a:rPr>
              <a:t>від 07.07.2011, № 1600-</a:t>
            </a:r>
            <a:r>
              <a:rPr lang="en-US" sz="900" b="0" i="0" dirty="0">
                <a:solidFill>
                  <a:srgbClr val="212529"/>
                </a:solidFill>
                <a:effectLst/>
              </a:rPr>
              <a:t>VII </a:t>
            </a:r>
            <a:r>
              <a:rPr lang="uk-UA" sz="900" b="0" i="0" dirty="0">
                <a:solidFill>
                  <a:srgbClr val="212529"/>
                </a:solidFill>
                <a:effectLst/>
              </a:rPr>
              <a:t>від 22.07.2014,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заходи державного нагляду (контролю) - планові та позапланові заходи, які здійснюються у формі перевірок, ревізій, оглядів, обстежень та в інших формах, визначених законом;</a:t>
            </a:r>
          </a:p>
          <a:p>
            <a:pPr algn="l"/>
            <a:endParaRPr lang="uk-UA" sz="900" b="0" i="0" dirty="0">
              <a:solidFill>
                <a:srgbClr val="212529"/>
              </a:solidFill>
              <a:effectLst/>
            </a:endParaRPr>
          </a:p>
          <a:p>
            <a:pPr algn="l"/>
            <a:r>
              <a:rPr lang="uk-UA" sz="900" b="0" i="0" dirty="0">
                <a:solidFill>
                  <a:srgbClr val="212529"/>
                </a:solidFill>
                <a:effectLst/>
              </a:rPr>
              <a:t>{Абзац третій статті 1 із змінами, внесеними згідно із Законом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інтегрована автоматизована система державного нагляду (контролю) - єдина автоматизована система збирання, накопичення та систематизації інформації про заходи державного нагляду (контролю), призначена для узагальнення та оприлюднення інформації про заходи державного нагляду (контролю), координації роботи органів державного нагляду (контролю) щодо здійснення комплексних заходів державного нагляду (контролю), моніторингу ефективності та законності здійснення заходів державного нагляду (контролю).</a:t>
            </a:r>
          </a:p>
          <a:p>
            <a:pPr algn="l"/>
            <a:endParaRPr lang="uk-UA" sz="900" b="0" i="0" dirty="0">
              <a:solidFill>
                <a:srgbClr val="212529"/>
              </a:solidFill>
              <a:effectLst/>
            </a:endParaRPr>
          </a:p>
          <a:p>
            <a:pPr algn="l"/>
            <a:r>
              <a:rPr lang="uk-UA" sz="900" b="0" i="0" dirty="0">
                <a:solidFill>
                  <a:srgbClr val="212529"/>
                </a:solidFill>
                <a:effectLst/>
              </a:rPr>
              <a:t>{Статтю 1 доповнено новим абзацом згідно із Законом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прийнятний ризик - соціально, економічно, технічно і політично обґрунтований ризик, який не перевищує гранично допустимого рівня;</a:t>
            </a:r>
          </a:p>
          <a:p>
            <a:pPr algn="l"/>
            <a:endParaRPr lang="uk-UA" sz="900" b="0" i="0" dirty="0">
              <a:solidFill>
                <a:srgbClr val="212529"/>
              </a:solidFill>
              <a:effectLst/>
            </a:endParaRPr>
          </a:p>
          <a:p>
            <a:pPr algn="l"/>
            <a:r>
              <a:rPr lang="uk-UA" sz="900" b="0" i="0" dirty="0">
                <a:solidFill>
                  <a:srgbClr val="212529"/>
                </a:solidFill>
                <a:effectLst/>
              </a:rPr>
              <a:t>ризик - ймовірність виникнення негативних наслідків від провадження господарської діяльності та можливий розмір втрат від них, що вимірюється у кількісних та якісних показниках;</a:t>
            </a:r>
          </a:p>
          <a:p>
            <a:pPr algn="l"/>
            <a:endParaRPr lang="uk-UA" sz="900" b="0" i="0" dirty="0">
              <a:solidFill>
                <a:srgbClr val="212529"/>
              </a:solidFill>
              <a:effectLst/>
            </a:endParaRPr>
          </a:p>
          <a:p>
            <a:pPr algn="l"/>
            <a:r>
              <a:rPr lang="uk-UA" sz="900" b="0" i="0" dirty="0">
                <a:solidFill>
                  <a:srgbClr val="212529"/>
                </a:solidFill>
                <a:effectLst/>
              </a:rPr>
              <a:t>{Абзац шостий статті 1 в редакції Закону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спосіб здійснення державного нагляду (контролю) - процедура здійснення державного нагляду (контролю), визначена законом;</a:t>
            </a:r>
          </a:p>
          <a:p>
            <a:pPr algn="l"/>
            <a:endParaRPr lang="uk-UA" sz="900" b="0" i="0" dirty="0">
              <a:solidFill>
                <a:srgbClr val="212529"/>
              </a:solidFill>
              <a:effectLst/>
            </a:endParaRPr>
          </a:p>
          <a:p>
            <a:pPr algn="l"/>
            <a:r>
              <a:rPr lang="uk-UA" sz="900" b="0" i="0" dirty="0">
                <a:solidFill>
                  <a:srgbClr val="212529"/>
                </a:solidFill>
                <a:effectLst/>
              </a:rPr>
              <a:t>{Зміни до абзацу частини першої статті 1 див. в Законі № 5026-</a:t>
            </a:r>
            <a:r>
              <a:rPr lang="en-US" sz="900" b="0" i="0" dirty="0">
                <a:solidFill>
                  <a:srgbClr val="212529"/>
                </a:solidFill>
                <a:effectLst/>
              </a:rPr>
              <a:t>VI </a:t>
            </a:r>
            <a:r>
              <a:rPr lang="uk-UA" sz="900" b="0" i="0" dirty="0">
                <a:solidFill>
                  <a:srgbClr val="212529"/>
                </a:solidFill>
                <a:effectLst/>
              </a:rPr>
              <a:t>від 22.06.2012}</a:t>
            </a:r>
          </a:p>
          <a:p>
            <a:pPr algn="l"/>
            <a:endParaRPr lang="uk-UA" sz="900" b="0" i="0" dirty="0">
              <a:solidFill>
                <a:srgbClr val="212529"/>
              </a:solidFill>
              <a:effectLst/>
            </a:endParaRPr>
          </a:p>
          <a:p>
            <a:pPr algn="l"/>
            <a:r>
              <a:rPr lang="uk-UA" sz="900" b="0" i="0" dirty="0">
                <a:solidFill>
                  <a:srgbClr val="212529"/>
                </a:solidFill>
                <a:effectLst/>
              </a:rPr>
              <a:t>треті особи - юридичні та фізичні особи (адвокати, аудитори, громадські об’єднання в особі їх уповноважених представників та інші), які залучаються суб'єктами господарювання або органами державного нагляду (контролю) в ході здійснення заходів державного нагляду (контролю).</a:t>
            </a:r>
          </a:p>
          <a:p>
            <a:pPr algn="l"/>
            <a:endParaRPr lang="uk-UA" sz="900" b="0" i="0" dirty="0">
              <a:solidFill>
                <a:srgbClr val="212529"/>
              </a:solidFill>
              <a:effectLst/>
            </a:endParaRPr>
          </a:p>
          <a:p>
            <a:pPr algn="l"/>
            <a:r>
              <a:rPr lang="uk-UA" sz="900" b="0" i="0" dirty="0">
                <a:solidFill>
                  <a:srgbClr val="212529"/>
                </a:solidFill>
                <a:effectLst/>
              </a:rPr>
              <a:t>{Абзац восьмий статті 1 із змінами, внесеними згідно із Законом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Стаття 2. Сфера дії цього Закону</a:t>
            </a:r>
          </a:p>
          <a:p>
            <a:pPr algn="l"/>
            <a:endParaRPr lang="uk-UA" sz="900" b="0" i="0" dirty="0">
              <a:solidFill>
                <a:srgbClr val="212529"/>
              </a:solidFill>
              <a:effectLst/>
            </a:endParaRPr>
          </a:p>
          <a:p>
            <a:pPr algn="l"/>
            <a:r>
              <a:rPr lang="uk-UA" sz="900" b="0" i="0" dirty="0">
                <a:solidFill>
                  <a:srgbClr val="212529"/>
                </a:solidFill>
                <a:effectLst/>
              </a:rPr>
              <a:t>Дія цього Закону поширюється на відносини, пов'язані зі здійсненням державного нагляду (контролю) у сфері господарської діяльності.</a:t>
            </a:r>
          </a:p>
          <a:p>
            <a:pPr algn="l"/>
            <a:endParaRPr lang="uk-UA" sz="900" b="0" i="0" dirty="0">
              <a:solidFill>
                <a:srgbClr val="212529"/>
              </a:solidFill>
              <a:effectLst/>
            </a:endParaRPr>
          </a:p>
          <a:p>
            <a:pPr algn="l"/>
            <a:r>
              <a:rPr lang="uk-UA" sz="900" b="0" i="0" dirty="0">
                <a:solidFill>
                  <a:srgbClr val="212529"/>
                </a:solidFill>
                <a:effectLst/>
              </a:rPr>
              <a:t>Дія цього Закону не поширюється на відносини, що виникають під час здійснення заходів валютного нагляду, податкового контролю, митного контролю, державного експортного контролю (крім здійснення державного нагляду (контролю) за дотриманням суб’єктами космічної діяльності України приватної форми власності законодавства про космічну діяльність в Україні), контролю за дотриманням бюджетного законодавства, державного нагляду на ринках фінансових послуг, державного контролю за дотриманням законодавства про захист економічної конкуренції, державного нагляду (контролю) в галузі телебачення і радіомовлення, державного нагляду (контролю) за дотриманням суб’єктами господарювання, що провадять діяльність у сферах енергетики та комунальних послуг, законодавства у сферах енергетики та комунальних послуг, державного ринкового нагляду та контролю нехарчової продукції, державного нагляду за дотриманням вимог безпеки використання ядерної енергії.</a:t>
            </a:r>
          </a:p>
          <a:p>
            <a:pPr algn="l"/>
            <a:endParaRPr lang="uk-UA" sz="900" b="0" i="0" dirty="0">
              <a:solidFill>
                <a:srgbClr val="212529"/>
              </a:solidFill>
              <a:effectLst/>
            </a:endParaRPr>
          </a:p>
          <a:p>
            <a:pPr algn="l"/>
            <a:r>
              <a:rPr lang="uk-UA" sz="900" b="0" i="0" dirty="0">
                <a:solidFill>
                  <a:srgbClr val="212529"/>
                </a:solidFill>
                <a:effectLst/>
              </a:rPr>
              <a:t>{Частина друга статті 2 в редакції Закону № 107-</a:t>
            </a:r>
            <a:r>
              <a:rPr lang="en-US" sz="900" b="0" i="0" dirty="0">
                <a:solidFill>
                  <a:srgbClr val="212529"/>
                </a:solidFill>
                <a:effectLst/>
              </a:rPr>
              <a:t>VI </a:t>
            </a:r>
            <a:r>
              <a:rPr lang="uk-UA" sz="900" b="0" i="0" dirty="0">
                <a:solidFill>
                  <a:srgbClr val="212529"/>
                </a:solidFill>
                <a:effectLst/>
              </a:rPr>
              <a:t>від 28.12.2007 - зміну визнано неконституційною згідно з Рішенням Конституційного Суду № 10-рп/2008 від 22.05.2008; із змінами, внесеними згідно із Законом № 1546-</a:t>
            </a:r>
            <a:r>
              <a:rPr lang="en-US" sz="900" b="0" i="0" dirty="0">
                <a:solidFill>
                  <a:srgbClr val="212529"/>
                </a:solidFill>
                <a:effectLst/>
              </a:rPr>
              <a:t>VI </a:t>
            </a:r>
            <a:r>
              <a:rPr lang="uk-UA" sz="900" b="0" i="0" dirty="0">
                <a:solidFill>
                  <a:srgbClr val="212529"/>
                </a:solidFill>
                <a:effectLst/>
              </a:rPr>
              <a:t>від 23.06.2009; в редакції Закону № 2299-</a:t>
            </a:r>
            <a:r>
              <a:rPr lang="en-US" sz="900" b="0" i="0" dirty="0">
                <a:solidFill>
                  <a:srgbClr val="212529"/>
                </a:solidFill>
                <a:effectLst/>
              </a:rPr>
              <a:t>VI </a:t>
            </a:r>
            <a:r>
              <a:rPr lang="uk-UA" sz="900" b="0" i="0" dirty="0">
                <a:solidFill>
                  <a:srgbClr val="212529"/>
                </a:solidFill>
                <a:effectLst/>
              </a:rPr>
              <a:t>від 01.06.2010; із змінами, внесеними згідно із Законами № 2367-</a:t>
            </a:r>
            <a:r>
              <a:rPr lang="en-US" sz="900" b="0" i="0" dirty="0">
                <a:solidFill>
                  <a:srgbClr val="212529"/>
                </a:solidFill>
                <a:effectLst/>
              </a:rPr>
              <a:t>VI </a:t>
            </a:r>
            <a:r>
              <a:rPr lang="uk-UA" sz="900" b="0" i="0" dirty="0">
                <a:solidFill>
                  <a:srgbClr val="212529"/>
                </a:solidFill>
                <a:effectLst/>
              </a:rPr>
              <a:t>від 29.06.2010, № 2467-</a:t>
            </a:r>
            <a:r>
              <a:rPr lang="en-US" sz="900" b="0" i="0" dirty="0">
                <a:solidFill>
                  <a:srgbClr val="212529"/>
                </a:solidFill>
                <a:effectLst/>
              </a:rPr>
              <a:t>VI </a:t>
            </a:r>
            <a:r>
              <a:rPr lang="uk-UA" sz="900" b="0" i="0" dirty="0">
                <a:solidFill>
                  <a:srgbClr val="212529"/>
                </a:solidFill>
                <a:effectLst/>
              </a:rPr>
              <a:t>від 08.07.2010, № 2756-</a:t>
            </a:r>
            <a:r>
              <a:rPr lang="en-US" sz="900" b="0" i="0" dirty="0">
                <a:solidFill>
                  <a:srgbClr val="212529"/>
                </a:solidFill>
                <a:effectLst/>
              </a:rPr>
              <a:t>VI </a:t>
            </a:r>
            <a:r>
              <a:rPr lang="uk-UA" sz="900" b="0" i="0" dirty="0">
                <a:solidFill>
                  <a:srgbClr val="212529"/>
                </a:solidFill>
                <a:effectLst/>
              </a:rPr>
              <a:t>від 02.12.2010, № 3437-</a:t>
            </a:r>
            <a:r>
              <a:rPr lang="en-US" sz="900" b="0" i="0" dirty="0">
                <a:solidFill>
                  <a:srgbClr val="212529"/>
                </a:solidFill>
                <a:effectLst/>
              </a:rPr>
              <a:t>VI </a:t>
            </a:r>
            <a:r>
              <a:rPr lang="uk-UA" sz="900" b="0" i="0" dirty="0">
                <a:solidFill>
                  <a:srgbClr val="212529"/>
                </a:solidFill>
                <a:effectLst/>
              </a:rPr>
              <a:t>від 31.05.2011, Кодексом № 3393-</a:t>
            </a:r>
            <a:r>
              <a:rPr lang="en-US" sz="900" b="0" i="0" dirty="0">
                <a:solidFill>
                  <a:srgbClr val="212529"/>
                </a:solidFill>
                <a:effectLst/>
              </a:rPr>
              <a:t>VI </a:t>
            </a:r>
            <a:r>
              <a:rPr lang="uk-UA" sz="900" b="0" i="0" dirty="0">
                <a:solidFill>
                  <a:srgbClr val="212529"/>
                </a:solidFill>
                <a:effectLst/>
              </a:rPr>
              <a:t>від 19.05.2011, Законами № 4652-</a:t>
            </a:r>
            <a:r>
              <a:rPr lang="en-US" sz="900" b="0" i="0" dirty="0">
                <a:solidFill>
                  <a:srgbClr val="212529"/>
                </a:solidFill>
                <a:effectLst/>
              </a:rPr>
              <a:t>VI </a:t>
            </a:r>
            <a:r>
              <a:rPr lang="uk-UA" sz="900" b="0" i="0" dirty="0">
                <a:solidFill>
                  <a:srgbClr val="212529"/>
                </a:solidFill>
                <a:effectLst/>
              </a:rPr>
              <a:t>від 13.04.2012, № 5502-</a:t>
            </a:r>
            <a:r>
              <a:rPr lang="en-US" sz="900" b="0" i="0" dirty="0">
                <a:solidFill>
                  <a:srgbClr val="212529"/>
                </a:solidFill>
                <a:effectLst/>
              </a:rPr>
              <a:t>VI </a:t>
            </a:r>
            <a:r>
              <a:rPr lang="uk-UA" sz="900" b="0" i="0" dirty="0">
                <a:solidFill>
                  <a:srgbClr val="212529"/>
                </a:solidFill>
                <a:effectLst/>
              </a:rPr>
              <a:t>від 20.11.2012, № 406-</a:t>
            </a:r>
            <a:r>
              <a:rPr lang="en-US" sz="900" b="0" i="0" dirty="0">
                <a:solidFill>
                  <a:srgbClr val="212529"/>
                </a:solidFill>
                <a:effectLst/>
              </a:rPr>
              <a:t>VII </a:t>
            </a:r>
            <a:r>
              <a:rPr lang="uk-UA" sz="900" b="0" i="0" dirty="0">
                <a:solidFill>
                  <a:srgbClr val="212529"/>
                </a:solidFill>
                <a:effectLst/>
              </a:rPr>
              <a:t>від 04.07.2013, № 1194-</a:t>
            </a:r>
            <a:r>
              <a:rPr lang="en-US" sz="900" b="0" i="0" dirty="0">
                <a:solidFill>
                  <a:srgbClr val="212529"/>
                </a:solidFill>
                <a:effectLst/>
              </a:rPr>
              <a:t>VII </a:t>
            </a:r>
            <a:r>
              <a:rPr lang="uk-UA" sz="900" b="0" i="0" dirty="0">
                <a:solidFill>
                  <a:srgbClr val="212529"/>
                </a:solidFill>
                <a:effectLst/>
              </a:rPr>
              <a:t>від 09.04.2014; в редакції Закону № 1600-</a:t>
            </a:r>
            <a:r>
              <a:rPr lang="en-US" sz="900" b="0" i="0" dirty="0">
                <a:solidFill>
                  <a:srgbClr val="212529"/>
                </a:solidFill>
                <a:effectLst/>
              </a:rPr>
              <a:t>VII </a:t>
            </a:r>
            <a:r>
              <a:rPr lang="uk-UA" sz="900" b="0" i="0" dirty="0">
                <a:solidFill>
                  <a:srgbClr val="212529"/>
                </a:solidFill>
                <a:effectLst/>
              </a:rPr>
              <a:t>від 22.07.2014; із змінами, внесеними згідно із Законами № 71-</a:t>
            </a:r>
            <a:r>
              <a:rPr lang="en-US" sz="900" b="0" i="0" dirty="0">
                <a:solidFill>
                  <a:srgbClr val="212529"/>
                </a:solidFill>
                <a:effectLst/>
              </a:rPr>
              <a:t>VIII </a:t>
            </a:r>
            <a:r>
              <a:rPr lang="uk-UA" sz="900" b="0" i="0" dirty="0">
                <a:solidFill>
                  <a:srgbClr val="212529"/>
                </a:solidFill>
                <a:effectLst/>
              </a:rPr>
              <a:t>від 28.12.2014, № 77-</a:t>
            </a:r>
            <a:r>
              <a:rPr lang="en-US" sz="900" b="0" i="0" dirty="0">
                <a:solidFill>
                  <a:srgbClr val="212529"/>
                </a:solidFill>
                <a:effectLst/>
              </a:rPr>
              <a:t>VIII </a:t>
            </a:r>
            <a:r>
              <a:rPr lang="uk-UA" sz="900" b="0" i="0" dirty="0">
                <a:solidFill>
                  <a:srgbClr val="212529"/>
                </a:solidFill>
                <a:effectLst/>
              </a:rPr>
              <a:t>від 28.12.2014, № 320-</a:t>
            </a:r>
            <a:r>
              <a:rPr lang="en-US" sz="900" b="0" i="0" dirty="0">
                <a:solidFill>
                  <a:srgbClr val="212529"/>
                </a:solidFill>
                <a:effectLst/>
              </a:rPr>
              <a:t>VIII </a:t>
            </a:r>
            <a:r>
              <a:rPr lang="uk-UA" sz="900" b="0" i="0" dirty="0">
                <a:solidFill>
                  <a:srgbClr val="212529"/>
                </a:solidFill>
                <a:effectLst/>
              </a:rPr>
              <a:t>від 09.04.2015, № 1540-</a:t>
            </a:r>
            <a:r>
              <a:rPr lang="en-US" sz="900" b="0" i="0" dirty="0">
                <a:solidFill>
                  <a:srgbClr val="212529"/>
                </a:solidFill>
                <a:effectLst/>
              </a:rPr>
              <a:t>VIII </a:t>
            </a:r>
            <a:r>
              <a:rPr lang="uk-UA" sz="900" b="0" i="0" dirty="0">
                <a:solidFill>
                  <a:srgbClr val="212529"/>
                </a:solidFill>
                <a:effectLst/>
              </a:rPr>
              <a:t>від 22.09.2016; в редакції Закону № 1726-</a:t>
            </a:r>
            <a:r>
              <a:rPr lang="en-US" sz="900" b="0" i="0" dirty="0">
                <a:solidFill>
                  <a:srgbClr val="212529"/>
                </a:solidFill>
                <a:effectLst/>
              </a:rPr>
              <a:t>VIII </a:t>
            </a:r>
            <a:r>
              <a:rPr lang="uk-UA" sz="900" b="0" i="0" dirty="0">
                <a:solidFill>
                  <a:srgbClr val="212529"/>
                </a:solidFill>
                <a:effectLst/>
              </a:rPr>
              <a:t>від 03.11.2016; із змінами, внесеними згідно із Законами № 79-</a:t>
            </a:r>
            <a:r>
              <a:rPr lang="en-US" sz="900" b="0" i="0" dirty="0">
                <a:solidFill>
                  <a:srgbClr val="212529"/>
                </a:solidFill>
                <a:effectLst/>
              </a:rPr>
              <a:t>IX </a:t>
            </a:r>
            <a:r>
              <a:rPr lang="uk-UA" sz="900" b="0" i="0" dirty="0">
                <a:solidFill>
                  <a:srgbClr val="212529"/>
                </a:solidFill>
                <a:effectLst/>
              </a:rPr>
              <a:t>від 12.09.2019, № 143-</a:t>
            </a:r>
            <a:r>
              <a:rPr lang="en-US" sz="900" b="0" i="0" dirty="0">
                <a:solidFill>
                  <a:srgbClr val="212529"/>
                </a:solidFill>
                <a:effectLst/>
              </a:rPr>
              <a:t>IX </a:t>
            </a:r>
            <a:r>
              <a:rPr lang="uk-UA" sz="900" b="0" i="0" dirty="0">
                <a:solidFill>
                  <a:srgbClr val="212529"/>
                </a:solidFill>
                <a:effectLst/>
              </a:rPr>
              <a:t>від 02.10.2019, № 367-</a:t>
            </a:r>
            <a:r>
              <a:rPr lang="en-US" sz="900" b="0" i="0" dirty="0">
                <a:solidFill>
                  <a:srgbClr val="212529"/>
                </a:solidFill>
                <a:effectLst/>
              </a:rPr>
              <a:t>IX </a:t>
            </a:r>
            <a:r>
              <a:rPr lang="uk-UA" sz="900" b="0" i="0" dirty="0">
                <a:solidFill>
                  <a:srgbClr val="212529"/>
                </a:solidFill>
                <a:effectLst/>
              </a:rPr>
              <a:t>від 12.12.2019, № 394-</a:t>
            </a:r>
            <a:r>
              <a:rPr lang="en-US" sz="900" b="0" i="0" dirty="0">
                <a:solidFill>
                  <a:srgbClr val="212529"/>
                </a:solidFill>
                <a:effectLst/>
              </a:rPr>
              <a:t>IX </a:t>
            </a:r>
            <a:r>
              <a:rPr lang="uk-UA" sz="900" b="0" i="0" dirty="0">
                <a:solidFill>
                  <a:srgbClr val="212529"/>
                </a:solidFill>
                <a:effectLst/>
              </a:rPr>
              <a:t>від 19.12.2019, № 440-</a:t>
            </a:r>
            <a:r>
              <a:rPr lang="en-US" sz="900" b="0" i="0" dirty="0">
                <a:solidFill>
                  <a:srgbClr val="212529"/>
                </a:solidFill>
                <a:effectLst/>
              </a:rPr>
              <a:t>IX </a:t>
            </a:r>
            <a:r>
              <a:rPr lang="uk-UA" sz="900" b="0" i="0" dirty="0">
                <a:solidFill>
                  <a:srgbClr val="212529"/>
                </a:solidFill>
                <a:effectLst/>
              </a:rPr>
              <a:t>від 14.01.2020, № 613-</a:t>
            </a:r>
            <a:r>
              <a:rPr lang="en-US" sz="900" b="0" i="0" dirty="0">
                <a:solidFill>
                  <a:srgbClr val="212529"/>
                </a:solidFill>
                <a:effectLst/>
              </a:rPr>
              <a:t>IX </a:t>
            </a:r>
            <a:r>
              <a:rPr lang="uk-UA" sz="900" b="0" i="0" dirty="0">
                <a:solidFill>
                  <a:srgbClr val="212529"/>
                </a:solidFill>
                <a:effectLst/>
              </a:rPr>
              <a:t>від 19.05.2020}</a:t>
            </a:r>
          </a:p>
          <a:p>
            <a:pPr algn="l"/>
            <a:endParaRPr lang="uk-UA" sz="900" b="0" i="0" dirty="0">
              <a:solidFill>
                <a:srgbClr val="212529"/>
              </a:solidFill>
              <a:effectLst/>
            </a:endParaRPr>
          </a:p>
          <a:p>
            <a:pPr algn="l"/>
            <a:r>
              <a:rPr lang="uk-UA" sz="900" b="0" i="0" dirty="0">
                <a:solidFill>
                  <a:srgbClr val="212529"/>
                </a:solidFill>
                <a:effectLst/>
              </a:rPr>
              <a:t>Контроль за додержанням організаторами азартних ігор вимог Закону України "Про державне регулювання діяльності щодо організації та проведення азартних ігор" та ліцензійних умов здійснюється у встановленому цим Законом порядку з урахуванням особливостей, визначених Законом України "Про державне регулювання діяльності щодо організації та проведення азартних ігор".</a:t>
            </a:r>
          </a:p>
          <a:p>
            <a:pPr algn="l"/>
            <a:endParaRPr lang="uk-UA" sz="900" b="0" i="0" dirty="0">
              <a:solidFill>
                <a:srgbClr val="212529"/>
              </a:solidFill>
              <a:effectLst/>
            </a:endParaRPr>
          </a:p>
          <a:p>
            <a:pPr algn="l"/>
            <a:r>
              <a:rPr lang="uk-UA" sz="900" b="0" i="0" dirty="0">
                <a:solidFill>
                  <a:srgbClr val="212529"/>
                </a:solidFill>
                <a:effectLst/>
              </a:rPr>
              <a:t>{Статтю 2 доповнено новою частиною згідно із Законом № 768-</a:t>
            </a:r>
            <a:r>
              <a:rPr lang="en-US" sz="900" b="0" i="0" dirty="0">
                <a:solidFill>
                  <a:srgbClr val="212529"/>
                </a:solidFill>
                <a:effectLst/>
              </a:rPr>
              <a:t>IX </a:t>
            </a:r>
            <a:r>
              <a:rPr lang="uk-UA" sz="900" b="0" i="0" dirty="0">
                <a:solidFill>
                  <a:srgbClr val="212529"/>
                </a:solidFill>
                <a:effectLst/>
              </a:rPr>
              <a:t>від 14.07.2020}</a:t>
            </a:r>
          </a:p>
          <a:p>
            <a:pPr algn="l"/>
            <a:endParaRPr lang="uk-UA" sz="900" b="0" i="0" dirty="0">
              <a:solidFill>
                <a:srgbClr val="212529"/>
              </a:solidFill>
              <a:effectLst/>
            </a:endParaRPr>
          </a:p>
          <a:p>
            <a:pPr algn="l"/>
            <a:r>
              <a:rPr lang="uk-UA" sz="900" b="0" i="0" dirty="0">
                <a:solidFill>
                  <a:srgbClr val="212529"/>
                </a:solidFill>
                <a:effectLst/>
              </a:rPr>
              <a:t>Контроль за додержанням ліцензіатами вимог ліцензійних умов здійснюється органами ліцензування у встановленому цим Законом порядку з урахуванням особливостей, визначених Законом України "Про ліцензування видів господарської діяльності".</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222-</a:t>
            </a:r>
            <a:r>
              <a:rPr lang="en-US" sz="900" b="0" i="0" dirty="0">
                <a:solidFill>
                  <a:srgbClr val="212529"/>
                </a:solidFill>
                <a:effectLst/>
              </a:rPr>
              <a:t>VIII </a:t>
            </a:r>
            <a:r>
              <a:rPr lang="uk-UA" sz="900" b="0" i="0" dirty="0">
                <a:solidFill>
                  <a:srgbClr val="212529"/>
                </a:solidFill>
                <a:effectLst/>
              </a:rPr>
              <a:t>від 02.03.2015}</a:t>
            </a:r>
          </a:p>
          <a:p>
            <a:pPr algn="l"/>
            <a:endParaRPr lang="uk-UA" sz="900" b="0" i="0" dirty="0">
              <a:solidFill>
                <a:srgbClr val="212529"/>
              </a:solidFill>
              <a:effectLst/>
            </a:endParaRPr>
          </a:p>
          <a:p>
            <a:pPr algn="l"/>
            <a:r>
              <a:rPr lang="uk-UA" sz="900" b="0" i="0" dirty="0">
                <a:solidFill>
                  <a:srgbClr val="212529"/>
                </a:solidFill>
                <a:effectLst/>
              </a:rPr>
              <a:t>Заходи контролю здійснюються органами державного архітектурно-будівельного контролю (нагляду), державного нагляду та контролю за додержанням законодавства про працю та зайнятість населення, державного контролю за додержанням законодавства у сфері моніторингу, звітності та верифікації викидів парникових газів у встановленому цим Законом порядку з урахуванням особливостей, визначених законами у відповідних сферах та міжнародними договорами, зокрема державного нагляду (контролю) в галузі цивільної авіації - з урахуванням особливостей, встановлених Повітряним кодексом України, нормативно-правовими актами, прийнятими на його виконання (Авіаційними правилами України), та міжнародними договорами у сфері цивільної авіації.</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1726-</a:t>
            </a:r>
            <a:r>
              <a:rPr lang="en-US" sz="900" b="0" i="0" dirty="0">
                <a:solidFill>
                  <a:srgbClr val="212529"/>
                </a:solidFill>
                <a:effectLst/>
              </a:rPr>
              <a:t>VIII </a:t>
            </a:r>
            <a:r>
              <a:rPr lang="uk-UA" sz="900" b="0" i="0" dirty="0">
                <a:solidFill>
                  <a:srgbClr val="212529"/>
                </a:solidFill>
                <a:effectLst/>
              </a:rPr>
              <a:t>від 03.11.2016; із змінами, внесеними згідно із Законами № 79-</a:t>
            </a:r>
            <a:r>
              <a:rPr lang="en-US" sz="900" b="0" i="0" dirty="0">
                <a:solidFill>
                  <a:srgbClr val="212529"/>
                </a:solidFill>
                <a:effectLst/>
              </a:rPr>
              <a:t>IX </a:t>
            </a:r>
            <a:r>
              <a:rPr lang="uk-UA" sz="900" b="0" i="0" dirty="0">
                <a:solidFill>
                  <a:srgbClr val="212529"/>
                </a:solidFill>
                <a:effectLst/>
              </a:rPr>
              <a:t>від 12.09.2019, № 377-</a:t>
            </a:r>
            <a:r>
              <a:rPr lang="en-US" sz="900" b="0" i="0" dirty="0">
                <a:solidFill>
                  <a:srgbClr val="212529"/>
                </a:solidFill>
                <a:effectLst/>
              </a:rPr>
              <a:t>IX </a:t>
            </a:r>
            <a:r>
              <a:rPr lang="uk-UA" sz="900" b="0" i="0" dirty="0">
                <a:solidFill>
                  <a:srgbClr val="212529"/>
                </a:solidFill>
                <a:effectLst/>
              </a:rPr>
              <a:t>від 12.12.2019, № 440-</a:t>
            </a:r>
            <a:r>
              <a:rPr lang="en-US" sz="900" b="0" i="0" dirty="0">
                <a:solidFill>
                  <a:srgbClr val="212529"/>
                </a:solidFill>
                <a:effectLst/>
              </a:rPr>
              <a:t>IX </a:t>
            </a:r>
            <a:r>
              <a:rPr lang="uk-UA" sz="900" b="0" i="0" dirty="0">
                <a:solidFill>
                  <a:srgbClr val="212529"/>
                </a:solidFill>
                <a:effectLst/>
              </a:rPr>
              <a:t>від 14.01.2020, № 613-</a:t>
            </a:r>
            <a:r>
              <a:rPr lang="en-US" sz="900" b="0" i="0" dirty="0">
                <a:solidFill>
                  <a:srgbClr val="212529"/>
                </a:solidFill>
                <a:effectLst/>
              </a:rPr>
              <a:t>IX </a:t>
            </a:r>
            <a:r>
              <a:rPr lang="uk-UA" sz="900" b="0" i="0" dirty="0">
                <a:solidFill>
                  <a:srgbClr val="212529"/>
                </a:solidFill>
                <a:effectLst/>
              </a:rPr>
              <a:t>від 19.05.2020}</a:t>
            </a:r>
          </a:p>
          <a:p>
            <a:pPr algn="l"/>
            <a:endParaRPr lang="uk-UA" sz="900" b="0" i="0" dirty="0">
              <a:solidFill>
                <a:srgbClr val="212529"/>
              </a:solidFill>
              <a:effectLst/>
            </a:endParaRPr>
          </a:p>
          <a:p>
            <a:pPr algn="l"/>
            <a:r>
              <a:rPr lang="uk-UA" sz="900" b="0" i="0" dirty="0">
                <a:solidFill>
                  <a:srgbClr val="212529"/>
                </a:solidFill>
                <a:effectLst/>
              </a:rPr>
              <a:t>Зазначені у частині четвертій цієї статті органи, що здійснюють державний нагляд (контроль) у встановленому цим Законом порядку з урахуванням особливостей, визначених законами у відповідних сферах та міжнародними договорами, зобов’язані забезпечити дотримання вимог статті 1, статті 3, частин першої, четвертої, шостої - восьмої, абзацу другого частини десятої, частин дванадцятої - чотирнадцятої статті 4, частини одинадцятої статті 4-1, частини третьої статті 6, частин першої - четвертої, шостої та десятої статті 7, статей 9, 10, 12, 19, 20, 21 цього Закону.</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1726-</a:t>
            </a:r>
            <a:r>
              <a:rPr lang="en-US" sz="900" b="0" i="0" dirty="0">
                <a:solidFill>
                  <a:srgbClr val="212529"/>
                </a:solidFill>
                <a:effectLst/>
              </a:rPr>
              <a:t>VIII </a:t>
            </a:r>
            <a:r>
              <a:rPr lang="uk-UA" sz="900" b="0" i="0" dirty="0">
                <a:solidFill>
                  <a:srgbClr val="212529"/>
                </a:solidFill>
                <a:effectLst/>
              </a:rPr>
              <a:t>від 03.11.2016; в редакції Закону № 367-</a:t>
            </a:r>
            <a:r>
              <a:rPr lang="en-US" sz="900" b="0" i="0" dirty="0">
                <a:solidFill>
                  <a:srgbClr val="212529"/>
                </a:solidFill>
                <a:effectLst/>
              </a:rPr>
              <a:t>IX </a:t>
            </a:r>
            <a:r>
              <a:rPr lang="uk-UA" sz="900" b="0" i="0" dirty="0">
                <a:solidFill>
                  <a:srgbClr val="212529"/>
                </a:solidFill>
                <a:effectLst/>
              </a:rPr>
              <a:t>від 12.12.2019}</a:t>
            </a:r>
          </a:p>
          <a:p>
            <a:pPr algn="l"/>
            <a:endParaRPr lang="uk-UA" sz="900" b="0" i="0" dirty="0">
              <a:solidFill>
                <a:srgbClr val="212529"/>
              </a:solidFill>
              <a:effectLst/>
            </a:endParaRPr>
          </a:p>
          <a:p>
            <a:pPr algn="l"/>
            <a:r>
              <a:rPr lang="uk-UA" sz="900" b="0" i="0" dirty="0">
                <a:solidFill>
                  <a:srgbClr val="212529"/>
                </a:solidFill>
                <a:effectLst/>
              </a:rPr>
              <a:t>Центральний орган виконавчої влади, що реалізує державну політику у сфері безпечності та окремих показників якості харчових продуктів та у сфері ветеринарної медицини, його територіальні органи зобов’язані забезпечити дотримання з урахуванням особливостей, визначених Законом України "Про державний контроль за дотриманням законодавства про харчові продукти, корми, побічні продукти тваринного походження, здоров’я та благополуччя тварин", виключно вимог частин першої, четвертої, шостої - сьомої, абзацу другого частини десятої, частин дванадцятої - чотирнадцятої статті 4, частин першої (крім вимоги щодо отримання погодження центрального органу виконавчої влади, що реалізує державну політику у відповідній сфері державного нагляду (контролю), або відповідного державного колегіального органу на проведення позапланового заходу) та третьої статті 6, частин першої - четвертої, шостої, восьмої - десятої статті 7, частин першої та другої статті 12, статей 13-18, 20, 21 цього Закону.</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2042-</a:t>
            </a:r>
            <a:r>
              <a:rPr lang="en-US" sz="900" b="0" i="0" dirty="0">
                <a:solidFill>
                  <a:srgbClr val="212529"/>
                </a:solidFill>
                <a:effectLst/>
              </a:rPr>
              <a:t>VIII </a:t>
            </a:r>
            <a:r>
              <a:rPr lang="uk-UA" sz="900" b="0" i="0" dirty="0">
                <a:solidFill>
                  <a:srgbClr val="212529"/>
                </a:solidFill>
                <a:effectLst/>
              </a:rPr>
              <a:t>від 18.05.2017; із змінами, внесеними згідно із Законом № 367-</a:t>
            </a:r>
            <a:r>
              <a:rPr lang="en-US" sz="900" b="0" i="0" dirty="0">
                <a:solidFill>
                  <a:srgbClr val="212529"/>
                </a:solidFill>
                <a:effectLst/>
              </a:rPr>
              <a:t>IX </a:t>
            </a:r>
            <a:r>
              <a:rPr lang="uk-UA" sz="900" b="0" i="0" dirty="0">
                <a:solidFill>
                  <a:srgbClr val="212529"/>
                </a:solidFill>
                <a:effectLst/>
              </a:rPr>
              <a:t>від 12.12.2019}</a:t>
            </a:r>
          </a:p>
          <a:p>
            <a:pPr algn="l"/>
            <a:endParaRPr lang="uk-UA" sz="900" b="0" i="0" dirty="0">
              <a:solidFill>
                <a:srgbClr val="212529"/>
              </a:solidFill>
              <a:effectLst/>
            </a:endParaRPr>
          </a:p>
          <a:p>
            <a:pPr algn="l"/>
            <a:r>
              <a:rPr lang="uk-UA" sz="900" b="0" i="0" dirty="0">
                <a:solidFill>
                  <a:srgbClr val="212529"/>
                </a:solidFill>
                <a:effectLst/>
              </a:rPr>
              <a:t>Моніторинг призначених органів з оцінки відповідності і визнаних незалежних організацій здійснюється у встановленому цим Законом порядку з урахуванням особливостей, визначених Законом України "Про технічні регламенти та оцінку відповідності".</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2740-</a:t>
            </a:r>
            <a:r>
              <a:rPr lang="en-US" sz="900" b="0" i="0" dirty="0">
                <a:solidFill>
                  <a:srgbClr val="212529"/>
                </a:solidFill>
                <a:effectLst/>
              </a:rPr>
              <a:t>VIII </a:t>
            </a:r>
            <a:r>
              <a:rPr lang="uk-UA" sz="900" b="0" i="0" dirty="0">
                <a:solidFill>
                  <a:srgbClr val="212529"/>
                </a:solidFill>
                <a:effectLst/>
              </a:rPr>
              <a:t>від 06.06.2019}</a:t>
            </a:r>
          </a:p>
          <a:p>
            <a:pPr algn="l"/>
            <a:endParaRPr lang="uk-UA" sz="900" b="0" i="0" dirty="0">
              <a:solidFill>
                <a:srgbClr val="212529"/>
              </a:solidFill>
              <a:effectLst/>
            </a:endParaRPr>
          </a:p>
          <a:p>
            <a:pPr algn="l"/>
            <a:r>
              <a:rPr lang="uk-UA" sz="900" b="0" i="0" dirty="0">
                <a:solidFill>
                  <a:srgbClr val="212529"/>
                </a:solidFill>
                <a:effectLst/>
              </a:rPr>
              <a:t>Центральний орган виконавчої влади із забезпечення якості освіти та його територіальні органи зобов’язані забезпечити дотримання з урахуванням особливостей, визначених Законом України "Про освіту", виключно вимог статті 3, частин першої, третьої, четвертої, шостої - дванадцятої, чотирнадцятої статті 4, частини четвертої статті 5, частини третьої статті 6, абзацу одинадцятого частини шостої статті 7, частини першої, абзаців першого - дванадцятого, чотирнадцятого частини другої, частини третьої статті 8, частин першої, другої статті 9, абзаців першого - одинадцятого, чотирнадцятого - двадцятого частини першої статті 10, абзаців третього - п’ятого частини першої статті 11, частин першої та четвертої статті 12, статей 19-20 цього Закону.</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463-</a:t>
            </a:r>
            <a:r>
              <a:rPr lang="en-US" sz="900" b="0" i="0" dirty="0">
                <a:solidFill>
                  <a:srgbClr val="212529"/>
                </a:solidFill>
                <a:effectLst/>
              </a:rPr>
              <a:t>IX </a:t>
            </a:r>
            <a:r>
              <a:rPr lang="uk-UA" sz="900" b="0" i="0" dirty="0">
                <a:solidFill>
                  <a:srgbClr val="212529"/>
                </a:solidFill>
                <a:effectLst/>
              </a:rPr>
              <a:t>від 16.01.2020}</a:t>
            </a:r>
          </a:p>
          <a:p>
            <a:pPr algn="l"/>
            <a:endParaRPr lang="uk-UA" sz="900" b="0" i="0" dirty="0">
              <a:solidFill>
                <a:srgbClr val="212529"/>
              </a:solidFill>
              <a:effectLst/>
            </a:endParaRPr>
          </a:p>
          <a:p>
            <a:pPr algn="l"/>
            <a:r>
              <a:rPr lang="uk-UA" sz="900" b="0" i="0" dirty="0">
                <a:solidFill>
                  <a:srgbClr val="212529"/>
                </a:solidFill>
                <a:effectLst/>
              </a:rPr>
              <a:t>Контроль за додержанням законодавства у сфері донорства крові та компонентів крові здійснюється у встановленому цим Законом порядку з урахуванням особливостей, визначених Законом України "Про безпеку та якість донорської крові та компонентів крові".</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десятою згідно із Законом № 931-</a:t>
            </a:r>
            <a:r>
              <a:rPr lang="en-US" sz="900" b="0" i="0" dirty="0">
                <a:solidFill>
                  <a:srgbClr val="212529"/>
                </a:solidFill>
                <a:effectLst/>
              </a:rPr>
              <a:t>IX </a:t>
            </a:r>
            <a:r>
              <a:rPr lang="uk-UA" sz="900" b="0" i="0" dirty="0">
                <a:solidFill>
                  <a:srgbClr val="212529"/>
                </a:solidFill>
                <a:effectLst/>
              </a:rPr>
              <a:t>від 30.09.2020 - вводиться в дію з 25.01.2021}</a:t>
            </a:r>
            <a:endParaRPr lang="uk-UA" sz="900" dirty="0"/>
          </a:p>
        </p:txBody>
      </p:sp>
      <p:sp>
        <p:nvSpPr>
          <p:cNvPr id="13" name="Овал 12">
            <a:extLst>
              <a:ext uri="{FF2B5EF4-FFF2-40B4-BE49-F238E27FC236}">
                <a16:creationId xmlns:a16="http://schemas.microsoft.com/office/drawing/2014/main" id="{AED53C9E-25A5-4629-97E6-36A0E3E7718A}"/>
              </a:ext>
            </a:extLst>
          </p:cNvPr>
          <p:cNvSpPr/>
          <p:nvPr/>
        </p:nvSpPr>
        <p:spPr>
          <a:xfrm>
            <a:off x="9169856" y="5629678"/>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1</a:t>
            </a:r>
          </a:p>
        </p:txBody>
      </p:sp>
      <p:sp>
        <p:nvSpPr>
          <p:cNvPr id="14" name="Овал 13">
            <a:extLst>
              <a:ext uri="{FF2B5EF4-FFF2-40B4-BE49-F238E27FC236}">
                <a16:creationId xmlns:a16="http://schemas.microsoft.com/office/drawing/2014/main" id="{FB03531F-1BA3-4C53-8ED6-7E4B10447F8F}"/>
              </a:ext>
            </a:extLst>
          </p:cNvPr>
          <p:cNvSpPr/>
          <p:nvPr/>
        </p:nvSpPr>
        <p:spPr>
          <a:xfrm>
            <a:off x="9169856" y="4427812"/>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2</a:t>
            </a:r>
          </a:p>
        </p:txBody>
      </p:sp>
      <p:sp>
        <p:nvSpPr>
          <p:cNvPr id="15" name="Овал 14">
            <a:extLst>
              <a:ext uri="{FF2B5EF4-FFF2-40B4-BE49-F238E27FC236}">
                <a16:creationId xmlns:a16="http://schemas.microsoft.com/office/drawing/2014/main" id="{33A8FC25-C9CA-46B9-8388-78F955EBC840}"/>
              </a:ext>
            </a:extLst>
          </p:cNvPr>
          <p:cNvSpPr/>
          <p:nvPr/>
        </p:nvSpPr>
        <p:spPr>
          <a:xfrm>
            <a:off x="9169856" y="1025268"/>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3</a:t>
            </a:r>
          </a:p>
        </p:txBody>
      </p:sp>
      <p:sp>
        <p:nvSpPr>
          <p:cNvPr id="16" name="Овал 15">
            <a:extLst>
              <a:ext uri="{FF2B5EF4-FFF2-40B4-BE49-F238E27FC236}">
                <a16:creationId xmlns:a16="http://schemas.microsoft.com/office/drawing/2014/main" id="{22D8FC07-3D18-4247-B98B-B16ABB90B258}"/>
              </a:ext>
            </a:extLst>
          </p:cNvPr>
          <p:cNvSpPr/>
          <p:nvPr/>
        </p:nvSpPr>
        <p:spPr>
          <a:xfrm>
            <a:off x="9169856" y="5028745"/>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4</a:t>
            </a:r>
          </a:p>
        </p:txBody>
      </p:sp>
      <p:sp>
        <p:nvSpPr>
          <p:cNvPr id="17" name="Овал 16">
            <a:extLst>
              <a:ext uri="{FF2B5EF4-FFF2-40B4-BE49-F238E27FC236}">
                <a16:creationId xmlns:a16="http://schemas.microsoft.com/office/drawing/2014/main" id="{5B501F45-0254-4533-A3B0-B70132567315}"/>
              </a:ext>
            </a:extLst>
          </p:cNvPr>
          <p:cNvSpPr/>
          <p:nvPr/>
        </p:nvSpPr>
        <p:spPr>
          <a:xfrm>
            <a:off x="9169856" y="2318730"/>
            <a:ext cx="360000" cy="360000"/>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accent1"/>
                </a:solidFill>
                <a:latin typeface="+mj-lt"/>
              </a:rPr>
              <a:t>5</a:t>
            </a:r>
          </a:p>
        </p:txBody>
      </p:sp>
      <p:sp>
        <p:nvSpPr>
          <p:cNvPr id="18" name="Овал 17">
            <a:extLst>
              <a:ext uri="{FF2B5EF4-FFF2-40B4-BE49-F238E27FC236}">
                <a16:creationId xmlns:a16="http://schemas.microsoft.com/office/drawing/2014/main" id="{F28BF642-FBAB-48BF-8B26-F492355E6802}"/>
              </a:ext>
            </a:extLst>
          </p:cNvPr>
          <p:cNvSpPr/>
          <p:nvPr/>
        </p:nvSpPr>
        <p:spPr>
          <a:xfrm>
            <a:off x="9169856" y="3249000"/>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6</a:t>
            </a:r>
          </a:p>
        </p:txBody>
      </p:sp>
      <p:sp>
        <p:nvSpPr>
          <p:cNvPr id="3" name="Стрілка: вліво 2">
            <a:extLst>
              <a:ext uri="{FF2B5EF4-FFF2-40B4-BE49-F238E27FC236}">
                <a16:creationId xmlns:a16="http://schemas.microsoft.com/office/drawing/2014/main" id="{7083A5C9-CF5B-4D27-95DC-E6BC4DF15F97}"/>
              </a:ext>
            </a:extLst>
          </p:cNvPr>
          <p:cNvSpPr/>
          <p:nvPr/>
        </p:nvSpPr>
        <p:spPr>
          <a:xfrm>
            <a:off x="8487830" y="1025268"/>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9" name="Стрілка: вліво 18">
            <a:extLst>
              <a:ext uri="{FF2B5EF4-FFF2-40B4-BE49-F238E27FC236}">
                <a16:creationId xmlns:a16="http://schemas.microsoft.com/office/drawing/2014/main" id="{14E7925A-62D7-461D-9966-D60ACE19CF2F}"/>
              </a:ext>
            </a:extLst>
          </p:cNvPr>
          <p:cNvSpPr/>
          <p:nvPr/>
        </p:nvSpPr>
        <p:spPr>
          <a:xfrm>
            <a:off x="8487830" y="3249000"/>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0" name="Стрілка: вліво 19">
            <a:extLst>
              <a:ext uri="{FF2B5EF4-FFF2-40B4-BE49-F238E27FC236}">
                <a16:creationId xmlns:a16="http://schemas.microsoft.com/office/drawing/2014/main" id="{15A7463C-C865-4AB6-9B14-F161FD8DAC5A}"/>
              </a:ext>
            </a:extLst>
          </p:cNvPr>
          <p:cNvSpPr/>
          <p:nvPr/>
        </p:nvSpPr>
        <p:spPr>
          <a:xfrm>
            <a:off x="8487830" y="4427812"/>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1" name="Стрілка: вліво 20">
            <a:extLst>
              <a:ext uri="{FF2B5EF4-FFF2-40B4-BE49-F238E27FC236}">
                <a16:creationId xmlns:a16="http://schemas.microsoft.com/office/drawing/2014/main" id="{9536306A-8E18-408D-BBB4-69B201B94000}"/>
              </a:ext>
            </a:extLst>
          </p:cNvPr>
          <p:cNvSpPr/>
          <p:nvPr/>
        </p:nvSpPr>
        <p:spPr>
          <a:xfrm>
            <a:off x="8487830" y="5028745"/>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2" name="Стрілка: вліво 21">
            <a:extLst>
              <a:ext uri="{FF2B5EF4-FFF2-40B4-BE49-F238E27FC236}">
                <a16:creationId xmlns:a16="http://schemas.microsoft.com/office/drawing/2014/main" id="{75DE825E-C1BD-4DB2-983D-C98C79AC1274}"/>
              </a:ext>
            </a:extLst>
          </p:cNvPr>
          <p:cNvSpPr/>
          <p:nvPr/>
        </p:nvSpPr>
        <p:spPr>
          <a:xfrm>
            <a:off x="8487830" y="5629678"/>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3" name="Стрілка: вліво 22">
            <a:extLst>
              <a:ext uri="{FF2B5EF4-FFF2-40B4-BE49-F238E27FC236}">
                <a16:creationId xmlns:a16="http://schemas.microsoft.com/office/drawing/2014/main" id="{7214B4A2-7FF7-4EFF-8352-A5258A89B358}"/>
              </a:ext>
            </a:extLst>
          </p:cNvPr>
          <p:cNvSpPr/>
          <p:nvPr/>
        </p:nvSpPr>
        <p:spPr>
          <a:xfrm>
            <a:off x="8487830" y="2318730"/>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4" name="Знак множення 3">
            <a:extLst>
              <a:ext uri="{FF2B5EF4-FFF2-40B4-BE49-F238E27FC236}">
                <a16:creationId xmlns:a16="http://schemas.microsoft.com/office/drawing/2014/main" id="{02A74B05-7BDF-4DF5-9818-D992E722416C}"/>
              </a:ext>
            </a:extLst>
          </p:cNvPr>
          <p:cNvSpPr/>
          <p:nvPr/>
        </p:nvSpPr>
        <p:spPr>
          <a:xfrm>
            <a:off x="8347446" y="2162098"/>
            <a:ext cx="673264" cy="673264"/>
          </a:xfrm>
          <a:prstGeom prst="mathMultiply">
            <a:avLst>
              <a:gd name="adj1" fmla="val 111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Tree>
    <p:extLst>
      <p:ext uri="{BB962C8B-B14F-4D97-AF65-F5344CB8AC3E}">
        <p14:creationId xmlns:p14="http://schemas.microsoft.com/office/powerpoint/2010/main" val="1479692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500"/>
                                        <p:tgtEl>
                                          <p:spTgt spid="4"/>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3" grpId="0" animBg="1"/>
      <p:bldP spid="19" grpId="0" animBg="1"/>
      <p:bldP spid="20" grpId="0" animBg="1"/>
      <p:bldP spid="21" grpId="0" animBg="1"/>
      <p:bldP spid="22" grpId="0" animBg="1"/>
      <p:bldP spid="23" grpId="0" animBg="1"/>
      <p:bldP spid="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Рисунок 9" descr="Зображення, що містить текст, векторна графіка&#10;&#10;Автоматично згенерований опис">
            <a:hlinkClick r:id="rId2"/>
            <a:extLst>
              <a:ext uri="{FF2B5EF4-FFF2-40B4-BE49-F238E27FC236}">
                <a16:creationId xmlns:a16="http://schemas.microsoft.com/office/drawing/2014/main" id="{75414BF3-169A-49A8-8A33-2FCD69EFC6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9747" y="309000"/>
            <a:ext cx="4320000" cy="6240001"/>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3" name="Рисунок 2">
            <a:hlinkClick r:id="rId2"/>
            <a:extLst>
              <a:ext uri="{FF2B5EF4-FFF2-40B4-BE49-F238E27FC236}">
                <a16:creationId xmlns:a16="http://schemas.microsoft.com/office/drawing/2014/main" id="{A3E6CC15-DB89-4406-B1E7-D824C11156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62253" y="309000"/>
            <a:ext cx="4320000" cy="6240000"/>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nvGrpSpPr>
          <p:cNvPr id="7" name="Групувати 6">
            <a:extLst>
              <a:ext uri="{FF2B5EF4-FFF2-40B4-BE49-F238E27FC236}">
                <a16:creationId xmlns:a16="http://schemas.microsoft.com/office/drawing/2014/main" id="{271CC370-8208-4E76-8480-F851D248C621}"/>
              </a:ext>
            </a:extLst>
          </p:cNvPr>
          <p:cNvGrpSpPr/>
          <p:nvPr/>
        </p:nvGrpSpPr>
        <p:grpSpPr>
          <a:xfrm>
            <a:off x="509382" y="3195000"/>
            <a:ext cx="468000" cy="468000"/>
            <a:chOff x="11063216" y="3495782"/>
            <a:chExt cx="468000" cy="468000"/>
          </a:xfrm>
        </p:grpSpPr>
        <p:sp>
          <p:nvSpPr>
            <p:cNvPr id="8" name="Овал 7">
              <a:extLst>
                <a:ext uri="{FF2B5EF4-FFF2-40B4-BE49-F238E27FC236}">
                  <a16:creationId xmlns:a16="http://schemas.microsoft.com/office/drawing/2014/main" id="{43997FC4-A158-409E-AF88-618D38EBA963}"/>
                </a:ext>
              </a:extLst>
            </p:cNvPr>
            <p:cNvSpPr/>
            <p:nvPr/>
          </p:nvSpPr>
          <p:spPr>
            <a:xfrm>
              <a:off x="11117216" y="3526728"/>
              <a:ext cx="360000" cy="36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1" name="WordArt 3">
              <a:extLst>
                <a:ext uri="{FF2B5EF4-FFF2-40B4-BE49-F238E27FC236}">
                  <a16:creationId xmlns:a16="http://schemas.microsoft.com/office/drawing/2014/main" id="{CB23E231-C84E-460D-B169-572D1C651CF2}"/>
                </a:ext>
              </a:extLst>
            </p:cNvPr>
            <p:cNvSpPr>
              <a:spLocks noChangeArrowheads="1" noChangeShapeType="1" noTextEdit="1"/>
            </p:cNvSpPr>
            <p:nvPr/>
          </p:nvSpPr>
          <p:spPr bwMode="auto">
            <a:xfrm>
              <a:off x="11063216" y="3495782"/>
              <a:ext cx="468000" cy="468000"/>
            </a:xfrm>
            <a:prstGeom prst="rect">
              <a:avLst/>
            </a:prstGeom>
            <a:extLst>
              <a:ext uri="{AF507438-7753-43E0-B8FC-AC1667EBCBE1}">
                <a14:hiddenEffects xmlns:a14="http://schemas.microsoft.com/office/drawing/2010/main">
                  <a:effectLst/>
                </a14:hiddenEffects>
              </a:ext>
            </a:extLst>
          </p:spPr>
          <p:txBody>
            <a:bodyPr wrap="none" fromWordArt="1">
              <a:prstTxWarp prst="textArchDown">
                <a:avLst>
                  <a:gd name="adj" fmla="val 2261353"/>
                </a:avLst>
              </a:prstTxWarp>
            </a:bodyPr>
            <a:lstStyle/>
            <a:p>
              <a:pPr algn="ctr" rtl="0">
                <a:buNone/>
              </a:pPr>
              <a:r>
                <a:rPr lang="uk-UA" sz="800" dirty="0">
                  <a:latin typeface="Ermilov" panose="02000000000000000000" pitchFamily="50" charset="-52"/>
                </a:rPr>
                <a:t>Клікайте </a:t>
              </a:r>
              <a:endParaRPr lang="uk-UA" sz="800" kern="10" spc="0" dirty="0">
                <a:ln w="9525">
                  <a:solidFill>
                    <a:srgbClr val="000000"/>
                  </a:solidFill>
                  <a:round/>
                  <a:headEnd/>
                  <a:tailEnd/>
                </a:ln>
                <a:solidFill>
                  <a:srgbClr val="000000"/>
                </a:solidFill>
                <a:effectLst/>
                <a:latin typeface="Calibri Light" panose="020F0302020204030204" pitchFamily="34" charset="0"/>
              </a:endParaRPr>
            </a:p>
          </p:txBody>
        </p:sp>
        <p:pic>
          <p:nvPicPr>
            <p:cNvPr id="12" name="Графіка 11" descr="Cursor with solid fill">
              <a:extLst>
                <a:ext uri="{FF2B5EF4-FFF2-40B4-BE49-F238E27FC236}">
                  <a16:creationId xmlns:a16="http://schemas.microsoft.com/office/drawing/2014/main" id="{9F762254-1457-495E-B0B5-B7B0C1186FB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9216" y="3598728"/>
              <a:ext cx="216000" cy="216000"/>
            </a:xfrm>
            <a:prstGeom prst="rect">
              <a:avLst/>
            </a:prstGeom>
          </p:spPr>
        </p:pic>
      </p:grpSp>
    </p:spTree>
    <p:extLst>
      <p:ext uri="{BB962C8B-B14F-4D97-AF65-F5344CB8AC3E}">
        <p14:creationId xmlns:p14="http://schemas.microsoft.com/office/powerpoint/2010/main" val="2118510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FD013A9D-0E5B-4577-A080-707ED81A0D12}"/>
              </a:ext>
            </a:extLst>
          </p:cNvPr>
          <p:cNvPicPr>
            <a:picLocks noChangeAspect="1"/>
          </p:cNvPicPr>
          <p:nvPr/>
        </p:nvPicPr>
        <p:blipFill>
          <a:blip r:embed="rId2"/>
          <a:stretch>
            <a:fillRect/>
          </a:stretch>
        </p:blipFill>
        <p:spPr>
          <a:xfrm>
            <a:off x="1804826" y="203908"/>
            <a:ext cx="8376864" cy="6450184"/>
          </a:xfrm>
          <a:prstGeom prst="rect">
            <a:avLst/>
          </a:prstGeom>
        </p:spPr>
      </p:pic>
    </p:spTree>
    <p:extLst>
      <p:ext uri="{BB962C8B-B14F-4D97-AF65-F5344CB8AC3E}">
        <p14:creationId xmlns:p14="http://schemas.microsoft.com/office/powerpoint/2010/main" val="1765649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a:hlinkClick r:id="rId2"/>
            <a:extLst>
              <a:ext uri="{FF2B5EF4-FFF2-40B4-BE49-F238E27FC236}">
                <a16:creationId xmlns:a16="http://schemas.microsoft.com/office/drawing/2014/main" id="{9EA69262-257D-477A-BAFD-6BC1F347DA45}"/>
              </a:ext>
            </a:extLst>
          </p:cNvPr>
          <p:cNvPicPr>
            <a:picLocks noChangeAspect="1"/>
          </p:cNvPicPr>
          <p:nvPr/>
        </p:nvPicPr>
        <p:blipFill>
          <a:blip r:embed="rId3"/>
          <a:stretch>
            <a:fillRect/>
          </a:stretch>
        </p:blipFill>
        <p:spPr>
          <a:xfrm>
            <a:off x="1646139" y="261991"/>
            <a:ext cx="4373348" cy="6334018"/>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3" name="Рисунок 12">
            <a:hlinkClick r:id="rId2"/>
            <a:extLst>
              <a:ext uri="{FF2B5EF4-FFF2-40B4-BE49-F238E27FC236}">
                <a16:creationId xmlns:a16="http://schemas.microsoft.com/office/drawing/2014/main" id="{86A74C28-F928-4D5A-96C1-086672E22B0A}"/>
              </a:ext>
            </a:extLst>
          </p:cNvPr>
          <p:cNvPicPr>
            <a:picLocks noChangeAspect="1"/>
          </p:cNvPicPr>
          <p:nvPr/>
        </p:nvPicPr>
        <p:blipFill>
          <a:blip r:embed="rId4"/>
          <a:stretch>
            <a:fillRect/>
          </a:stretch>
        </p:blipFill>
        <p:spPr>
          <a:xfrm>
            <a:off x="6172513" y="261991"/>
            <a:ext cx="4373349" cy="6342532"/>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nvGrpSpPr>
          <p:cNvPr id="7" name="Групувати 6">
            <a:extLst>
              <a:ext uri="{FF2B5EF4-FFF2-40B4-BE49-F238E27FC236}">
                <a16:creationId xmlns:a16="http://schemas.microsoft.com/office/drawing/2014/main" id="{AFBFEE04-E110-44B5-9F8E-99E2F670E546}"/>
              </a:ext>
            </a:extLst>
          </p:cNvPr>
          <p:cNvGrpSpPr/>
          <p:nvPr/>
        </p:nvGrpSpPr>
        <p:grpSpPr>
          <a:xfrm>
            <a:off x="509382" y="3195000"/>
            <a:ext cx="468000" cy="468000"/>
            <a:chOff x="11063216" y="3495782"/>
            <a:chExt cx="468000" cy="468000"/>
          </a:xfrm>
        </p:grpSpPr>
        <p:sp>
          <p:nvSpPr>
            <p:cNvPr id="8" name="Овал 7">
              <a:extLst>
                <a:ext uri="{FF2B5EF4-FFF2-40B4-BE49-F238E27FC236}">
                  <a16:creationId xmlns:a16="http://schemas.microsoft.com/office/drawing/2014/main" id="{7021980C-3807-42E7-888A-BAA3395E1442}"/>
                </a:ext>
              </a:extLst>
            </p:cNvPr>
            <p:cNvSpPr/>
            <p:nvPr/>
          </p:nvSpPr>
          <p:spPr>
            <a:xfrm>
              <a:off x="11117216" y="3526728"/>
              <a:ext cx="360000" cy="36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9" name="WordArt 3">
              <a:extLst>
                <a:ext uri="{FF2B5EF4-FFF2-40B4-BE49-F238E27FC236}">
                  <a16:creationId xmlns:a16="http://schemas.microsoft.com/office/drawing/2014/main" id="{73866A34-EED5-47E1-A8A1-735A1D8DF6D0}"/>
                </a:ext>
              </a:extLst>
            </p:cNvPr>
            <p:cNvSpPr>
              <a:spLocks noChangeArrowheads="1" noChangeShapeType="1" noTextEdit="1"/>
            </p:cNvSpPr>
            <p:nvPr/>
          </p:nvSpPr>
          <p:spPr bwMode="auto">
            <a:xfrm>
              <a:off x="11063216" y="3495782"/>
              <a:ext cx="468000" cy="468000"/>
            </a:xfrm>
            <a:prstGeom prst="rect">
              <a:avLst/>
            </a:prstGeom>
            <a:extLst>
              <a:ext uri="{AF507438-7753-43E0-B8FC-AC1667EBCBE1}">
                <a14:hiddenEffects xmlns:a14="http://schemas.microsoft.com/office/drawing/2010/main">
                  <a:effectLst/>
                </a14:hiddenEffects>
              </a:ext>
            </a:extLst>
          </p:spPr>
          <p:txBody>
            <a:bodyPr wrap="none" fromWordArt="1">
              <a:prstTxWarp prst="textArchDown">
                <a:avLst>
                  <a:gd name="adj" fmla="val 2261353"/>
                </a:avLst>
              </a:prstTxWarp>
            </a:bodyPr>
            <a:lstStyle/>
            <a:p>
              <a:pPr algn="ctr" rtl="0">
                <a:buNone/>
              </a:pPr>
              <a:r>
                <a:rPr lang="uk-UA" sz="800" dirty="0">
                  <a:latin typeface="Ermilov" panose="02000000000000000000" pitchFamily="50" charset="-52"/>
                </a:rPr>
                <a:t>Клікайте </a:t>
              </a:r>
              <a:endParaRPr lang="uk-UA" sz="800" kern="10" spc="0" dirty="0">
                <a:ln w="9525">
                  <a:solidFill>
                    <a:srgbClr val="000000"/>
                  </a:solidFill>
                  <a:round/>
                  <a:headEnd/>
                  <a:tailEnd/>
                </a:ln>
                <a:solidFill>
                  <a:srgbClr val="000000"/>
                </a:solidFill>
                <a:effectLst/>
                <a:latin typeface="Calibri Light" panose="020F0302020204030204" pitchFamily="34" charset="0"/>
              </a:endParaRPr>
            </a:p>
          </p:txBody>
        </p:sp>
        <p:pic>
          <p:nvPicPr>
            <p:cNvPr id="10" name="Графіка 9" descr="Cursor with solid fill">
              <a:extLst>
                <a:ext uri="{FF2B5EF4-FFF2-40B4-BE49-F238E27FC236}">
                  <a16:creationId xmlns:a16="http://schemas.microsoft.com/office/drawing/2014/main" id="{DE7C69B5-76B9-49EF-A2E2-95C95D8B5F1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89216" y="3598728"/>
              <a:ext cx="216000" cy="216000"/>
            </a:xfrm>
            <a:prstGeom prst="rect">
              <a:avLst/>
            </a:prstGeom>
          </p:spPr>
        </p:pic>
      </p:grpSp>
    </p:spTree>
    <p:extLst>
      <p:ext uri="{BB962C8B-B14F-4D97-AF65-F5344CB8AC3E}">
        <p14:creationId xmlns:p14="http://schemas.microsoft.com/office/powerpoint/2010/main" val="6555304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9D2E8D33-65E7-4227-B9F6-C6325EC727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9D2E8D33-65E7-4227-B9F6-C6325EC72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Рисунок 22">
            <a:extLst>
              <a:ext uri="{FF2B5EF4-FFF2-40B4-BE49-F238E27FC236}">
                <a16:creationId xmlns:a16="http://schemas.microsoft.com/office/drawing/2014/main" id="{F822BFEC-D7C5-434F-9069-1AC33CA7CA7D}"/>
              </a:ext>
            </a:extLst>
          </p:cNvPr>
          <p:cNvPicPr>
            <a:picLocks noChangeAspect="1"/>
          </p:cNvPicPr>
          <p:nvPr/>
        </p:nvPicPr>
        <p:blipFill>
          <a:blip r:embed="rId5"/>
          <a:stretch>
            <a:fillRect/>
          </a:stretch>
        </p:blipFill>
        <p:spPr>
          <a:xfrm>
            <a:off x="8952000" y="493982"/>
            <a:ext cx="6480000" cy="9397743"/>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6" name="Прямокутник 5">
            <a:hlinkClick r:id="rId6"/>
            <a:extLst>
              <a:ext uri="{FF2B5EF4-FFF2-40B4-BE49-F238E27FC236}">
                <a16:creationId xmlns:a16="http://schemas.microsoft.com/office/drawing/2014/main" id="{CEC87F7D-140D-4547-B729-C6ED38C7123F}"/>
              </a:ext>
            </a:extLst>
          </p:cNvPr>
          <p:cNvSpPr/>
          <p:nvPr/>
        </p:nvSpPr>
        <p:spPr>
          <a:xfrm>
            <a:off x="-3240000" y="493981"/>
            <a:ext cx="6480000" cy="721205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uk-UA" sz="900" b="0" i="0" dirty="0">
                <a:solidFill>
                  <a:srgbClr val="212529"/>
                </a:solidFill>
                <a:effectLst/>
              </a:rPr>
              <a:t>Стаття 1. Визначення термінів</a:t>
            </a:r>
          </a:p>
          <a:p>
            <a:pPr algn="l"/>
            <a:endParaRPr lang="uk-UA" sz="900" b="0" i="0" dirty="0">
              <a:solidFill>
                <a:srgbClr val="212529"/>
              </a:solidFill>
              <a:effectLst/>
            </a:endParaRPr>
          </a:p>
          <a:p>
            <a:pPr algn="l"/>
            <a:r>
              <a:rPr lang="uk-UA" sz="900" b="0" i="0" dirty="0">
                <a:solidFill>
                  <a:srgbClr val="212529"/>
                </a:solidFill>
                <a:effectLst/>
              </a:rPr>
              <a:t>У цьому Законі нижчезазначені терміни вживаються в такому значенні:</a:t>
            </a:r>
          </a:p>
          <a:p>
            <a:pPr algn="l"/>
            <a:endParaRPr lang="uk-UA" sz="900" b="0" i="0" dirty="0">
              <a:solidFill>
                <a:srgbClr val="212529"/>
              </a:solidFill>
              <a:effectLst/>
            </a:endParaRPr>
          </a:p>
          <a:p>
            <a:pPr algn="l"/>
            <a:r>
              <a:rPr lang="uk-UA" sz="900" b="0" i="0" dirty="0">
                <a:solidFill>
                  <a:srgbClr val="212529"/>
                </a:solidFill>
                <a:effectLst/>
              </a:rPr>
              <a:t>державний нагляд (контроль) - діяльність уповноважених законом центральних органів виконавчої влади, їх територіальних органів, державних колегіальних органів, органів виконавчої влади Автономної Республіки Крим, місцевих державних адміністрацій, органів місцевого самоврядування (далі - органи державного нагляду (контролю)) в межах повноважень, передбачених законом, щодо виявлення та запобігання порушенням вимог законодавства суб'єктами господарювання та забезпечення інтересів суспільства, зокрема належної якості продукції, робіт та послуг, допустимого рівня небезпеки для населення, навколишнього природного середовища;</a:t>
            </a:r>
          </a:p>
          <a:p>
            <a:pPr algn="l"/>
            <a:endParaRPr lang="uk-UA" sz="900" b="0" i="0" dirty="0">
              <a:solidFill>
                <a:srgbClr val="212529"/>
              </a:solidFill>
              <a:effectLst/>
            </a:endParaRPr>
          </a:p>
          <a:p>
            <a:pPr algn="l"/>
            <a:r>
              <a:rPr lang="uk-UA" sz="900" b="0" i="0" dirty="0">
                <a:solidFill>
                  <a:srgbClr val="212529"/>
                </a:solidFill>
                <a:effectLst/>
              </a:rPr>
              <a:t>{Абзац другий статті 1 із змінами, внесеними згідно із Законами № 2399-</a:t>
            </a:r>
            <a:r>
              <a:rPr lang="en-US" sz="900" b="0" i="0" dirty="0">
                <a:solidFill>
                  <a:srgbClr val="212529"/>
                </a:solidFill>
                <a:effectLst/>
              </a:rPr>
              <a:t>VI </a:t>
            </a:r>
            <a:r>
              <a:rPr lang="uk-UA" sz="900" b="0" i="0" dirty="0">
                <a:solidFill>
                  <a:srgbClr val="212529"/>
                </a:solidFill>
                <a:effectLst/>
              </a:rPr>
              <a:t>від 01.07.2010, № 3530-</a:t>
            </a:r>
            <a:r>
              <a:rPr lang="en-US" sz="900" b="0" i="0" dirty="0">
                <a:solidFill>
                  <a:srgbClr val="212529"/>
                </a:solidFill>
                <a:effectLst/>
              </a:rPr>
              <a:t>VI </a:t>
            </a:r>
            <a:r>
              <a:rPr lang="uk-UA" sz="900" b="0" i="0" dirty="0">
                <a:solidFill>
                  <a:srgbClr val="212529"/>
                </a:solidFill>
                <a:effectLst/>
              </a:rPr>
              <a:t>від 16.06.2011, № 3610-</a:t>
            </a:r>
            <a:r>
              <a:rPr lang="en-US" sz="900" b="0" i="0" dirty="0">
                <a:solidFill>
                  <a:srgbClr val="212529"/>
                </a:solidFill>
                <a:effectLst/>
              </a:rPr>
              <a:t>VI </a:t>
            </a:r>
            <a:r>
              <a:rPr lang="uk-UA" sz="900" b="0" i="0" dirty="0">
                <a:solidFill>
                  <a:srgbClr val="212529"/>
                </a:solidFill>
                <a:effectLst/>
              </a:rPr>
              <a:t>від 07.07.2011, № 1600-</a:t>
            </a:r>
            <a:r>
              <a:rPr lang="en-US" sz="900" b="0" i="0" dirty="0">
                <a:solidFill>
                  <a:srgbClr val="212529"/>
                </a:solidFill>
                <a:effectLst/>
              </a:rPr>
              <a:t>VII </a:t>
            </a:r>
            <a:r>
              <a:rPr lang="uk-UA" sz="900" b="0" i="0" dirty="0">
                <a:solidFill>
                  <a:srgbClr val="212529"/>
                </a:solidFill>
                <a:effectLst/>
              </a:rPr>
              <a:t>від 22.07.2014,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заходи державного нагляду (контролю) - планові та позапланові заходи, які здійснюються у формі перевірок, ревізій, оглядів, обстежень та в інших формах, визначених законом;</a:t>
            </a:r>
          </a:p>
          <a:p>
            <a:pPr algn="l"/>
            <a:endParaRPr lang="uk-UA" sz="900" b="0" i="0" dirty="0">
              <a:solidFill>
                <a:srgbClr val="212529"/>
              </a:solidFill>
              <a:effectLst/>
            </a:endParaRPr>
          </a:p>
          <a:p>
            <a:pPr algn="l"/>
            <a:r>
              <a:rPr lang="uk-UA" sz="900" b="0" i="0" dirty="0">
                <a:solidFill>
                  <a:srgbClr val="212529"/>
                </a:solidFill>
                <a:effectLst/>
              </a:rPr>
              <a:t>{Абзац третій статті 1 із змінами, внесеними згідно із Законом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інтегрована автоматизована система державного нагляду (контролю) - єдина автоматизована система збирання, накопичення та систематизації інформації про заходи державного нагляду (контролю), призначена для узагальнення та оприлюднення інформації про заходи державного нагляду (контролю), координації роботи органів державного нагляду (контролю) щодо здійснення комплексних заходів державного нагляду (контролю), моніторингу ефективності та законності здійснення заходів державного нагляду (контролю).</a:t>
            </a:r>
          </a:p>
          <a:p>
            <a:pPr algn="l"/>
            <a:endParaRPr lang="uk-UA" sz="900" b="0" i="0" dirty="0">
              <a:solidFill>
                <a:srgbClr val="212529"/>
              </a:solidFill>
              <a:effectLst/>
            </a:endParaRPr>
          </a:p>
          <a:p>
            <a:pPr algn="l"/>
            <a:r>
              <a:rPr lang="uk-UA" sz="900" b="0" i="0" dirty="0">
                <a:solidFill>
                  <a:srgbClr val="212529"/>
                </a:solidFill>
                <a:effectLst/>
              </a:rPr>
              <a:t>{Статтю 1 доповнено новим абзацом згідно із Законом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прийнятний ризик - соціально, економічно, технічно і політично обґрунтований ризик, який не перевищує гранично допустимого рівня;</a:t>
            </a:r>
          </a:p>
          <a:p>
            <a:pPr algn="l"/>
            <a:endParaRPr lang="uk-UA" sz="900" b="0" i="0" dirty="0">
              <a:solidFill>
                <a:srgbClr val="212529"/>
              </a:solidFill>
              <a:effectLst/>
            </a:endParaRPr>
          </a:p>
          <a:p>
            <a:pPr algn="l"/>
            <a:r>
              <a:rPr lang="uk-UA" sz="900" b="0" i="0" dirty="0">
                <a:solidFill>
                  <a:srgbClr val="212529"/>
                </a:solidFill>
                <a:effectLst/>
              </a:rPr>
              <a:t>ризик - ймовірність виникнення негативних наслідків від провадження господарської діяльності та можливий розмір втрат від них, що вимірюється у кількісних та якісних показниках;</a:t>
            </a:r>
          </a:p>
          <a:p>
            <a:pPr algn="l"/>
            <a:endParaRPr lang="uk-UA" sz="900" b="0" i="0" dirty="0">
              <a:solidFill>
                <a:srgbClr val="212529"/>
              </a:solidFill>
              <a:effectLst/>
            </a:endParaRPr>
          </a:p>
          <a:p>
            <a:pPr algn="l"/>
            <a:r>
              <a:rPr lang="uk-UA" sz="900" b="0" i="0" dirty="0">
                <a:solidFill>
                  <a:srgbClr val="212529"/>
                </a:solidFill>
                <a:effectLst/>
              </a:rPr>
              <a:t>{Абзац шостий статті 1 в редакції Закону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спосіб здійснення державного нагляду (контролю) - процедура здійснення державного нагляду (контролю), визначена законом;</a:t>
            </a:r>
          </a:p>
          <a:p>
            <a:pPr algn="l"/>
            <a:endParaRPr lang="uk-UA" sz="900" b="0" i="0" dirty="0">
              <a:solidFill>
                <a:srgbClr val="212529"/>
              </a:solidFill>
              <a:effectLst/>
            </a:endParaRPr>
          </a:p>
          <a:p>
            <a:pPr algn="l"/>
            <a:r>
              <a:rPr lang="uk-UA" sz="900" b="0" i="0" dirty="0">
                <a:solidFill>
                  <a:srgbClr val="212529"/>
                </a:solidFill>
                <a:effectLst/>
              </a:rPr>
              <a:t>{Зміни до абзацу частини першої статті 1 див. в Законі № 5026-</a:t>
            </a:r>
            <a:r>
              <a:rPr lang="en-US" sz="900" b="0" i="0" dirty="0">
                <a:solidFill>
                  <a:srgbClr val="212529"/>
                </a:solidFill>
                <a:effectLst/>
              </a:rPr>
              <a:t>VI </a:t>
            </a:r>
            <a:r>
              <a:rPr lang="uk-UA" sz="900" b="0" i="0" dirty="0">
                <a:solidFill>
                  <a:srgbClr val="212529"/>
                </a:solidFill>
                <a:effectLst/>
              </a:rPr>
              <a:t>від 22.06.2012}</a:t>
            </a:r>
          </a:p>
          <a:p>
            <a:pPr algn="l"/>
            <a:endParaRPr lang="uk-UA" sz="900" b="0" i="0" dirty="0">
              <a:solidFill>
                <a:srgbClr val="212529"/>
              </a:solidFill>
              <a:effectLst/>
            </a:endParaRPr>
          </a:p>
          <a:p>
            <a:pPr algn="l"/>
            <a:r>
              <a:rPr lang="uk-UA" sz="900" b="0" i="0" dirty="0">
                <a:solidFill>
                  <a:srgbClr val="212529"/>
                </a:solidFill>
                <a:effectLst/>
              </a:rPr>
              <a:t>треті особи - юридичні та фізичні особи (адвокати, аудитори, громадські об’єднання в особі їх уповноважених представників та інші), які залучаються суб'єктами господарювання або органами державного нагляду (контролю) в ході здійснення заходів державного нагляду (контролю).</a:t>
            </a:r>
          </a:p>
          <a:p>
            <a:pPr algn="l"/>
            <a:endParaRPr lang="uk-UA" sz="900" b="0" i="0" dirty="0">
              <a:solidFill>
                <a:srgbClr val="212529"/>
              </a:solidFill>
              <a:effectLst/>
            </a:endParaRPr>
          </a:p>
          <a:p>
            <a:pPr algn="l"/>
            <a:r>
              <a:rPr lang="uk-UA" sz="900" b="0" i="0" dirty="0">
                <a:solidFill>
                  <a:srgbClr val="212529"/>
                </a:solidFill>
                <a:effectLst/>
              </a:rPr>
              <a:t>{Абзац восьмий статті 1 із змінами, внесеними згідно із Законом № 1726-</a:t>
            </a:r>
            <a:r>
              <a:rPr lang="en-US" sz="900" b="0" i="0" dirty="0">
                <a:solidFill>
                  <a:srgbClr val="212529"/>
                </a:solidFill>
                <a:effectLst/>
              </a:rPr>
              <a:t>VIII </a:t>
            </a:r>
            <a:r>
              <a:rPr lang="uk-UA" sz="900" b="0" i="0" dirty="0">
                <a:solidFill>
                  <a:srgbClr val="212529"/>
                </a:solidFill>
                <a:effectLst/>
              </a:rPr>
              <a:t>від 03.11.2016}</a:t>
            </a:r>
          </a:p>
          <a:p>
            <a:pPr algn="l"/>
            <a:endParaRPr lang="uk-UA" sz="900" b="0" i="0" dirty="0">
              <a:solidFill>
                <a:srgbClr val="212529"/>
              </a:solidFill>
              <a:effectLst/>
            </a:endParaRPr>
          </a:p>
          <a:p>
            <a:pPr algn="l"/>
            <a:r>
              <a:rPr lang="uk-UA" sz="900" b="0" i="0" dirty="0">
                <a:solidFill>
                  <a:srgbClr val="212529"/>
                </a:solidFill>
                <a:effectLst/>
              </a:rPr>
              <a:t>Стаття 2. Сфера дії цього Закону</a:t>
            </a:r>
          </a:p>
          <a:p>
            <a:pPr algn="l"/>
            <a:endParaRPr lang="uk-UA" sz="900" b="0" i="0" dirty="0">
              <a:solidFill>
                <a:srgbClr val="212529"/>
              </a:solidFill>
              <a:effectLst/>
            </a:endParaRPr>
          </a:p>
          <a:p>
            <a:pPr algn="l"/>
            <a:r>
              <a:rPr lang="uk-UA" sz="900" b="0" i="0" dirty="0">
                <a:solidFill>
                  <a:srgbClr val="212529"/>
                </a:solidFill>
                <a:effectLst/>
              </a:rPr>
              <a:t>Дія цього Закону поширюється на відносини, пов'язані зі здійсненням державного нагляду (контролю) у сфері господарської діяльності.</a:t>
            </a:r>
          </a:p>
          <a:p>
            <a:pPr algn="l"/>
            <a:endParaRPr lang="uk-UA" sz="900" b="0" i="0" dirty="0">
              <a:solidFill>
                <a:srgbClr val="212529"/>
              </a:solidFill>
              <a:effectLst/>
            </a:endParaRPr>
          </a:p>
          <a:p>
            <a:pPr algn="l"/>
            <a:r>
              <a:rPr lang="uk-UA" sz="900" b="0" i="0" dirty="0">
                <a:solidFill>
                  <a:srgbClr val="212529"/>
                </a:solidFill>
                <a:effectLst/>
              </a:rPr>
              <a:t>Дія цього Закону не поширюється на відносини, що виникають під час здійснення заходів валютного нагляду, податкового контролю, митного контролю, державного експортного контролю (крім здійснення державного нагляду (контролю) за дотриманням суб’єктами космічної діяльності України приватної форми власності законодавства про космічну діяльність в Україні), контролю за дотриманням бюджетного законодавства, державного нагляду на ринках фінансових послуг, державного контролю за дотриманням законодавства про захист економічної конкуренції, державного нагляду (контролю) в галузі телебачення і радіомовлення, державного нагляду (контролю) за дотриманням суб’єктами господарювання, що провадять діяльність у сферах енергетики та комунальних послуг, законодавства у сферах енергетики та комунальних послуг, державного ринкового нагляду та контролю нехарчової продукції, державного нагляду за дотриманням вимог безпеки використання ядерної енергії.</a:t>
            </a:r>
          </a:p>
          <a:p>
            <a:pPr algn="l"/>
            <a:endParaRPr lang="uk-UA" sz="900" b="0" i="0" dirty="0">
              <a:solidFill>
                <a:srgbClr val="212529"/>
              </a:solidFill>
              <a:effectLst/>
            </a:endParaRPr>
          </a:p>
          <a:p>
            <a:pPr algn="l"/>
            <a:r>
              <a:rPr lang="uk-UA" sz="900" b="0" i="0" dirty="0">
                <a:solidFill>
                  <a:srgbClr val="212529"/>
                </a:solidFill>
                <a:effectLst/>
              </a:rPr>
              <a:t>{Частина друга статті 2 в редакції Закону № 107-</a:t>
            </a:r>
            <a:r>
              <a:rPr lang="en-US" sz="900" b="0" i="0" dirty="0">
                <a:solidFill>
                  <a:srgbClr val="212529"/>
                </a:solidFill>
                <a:effectLst/>
              </a:rPr>
              <a:t>VI </a:t>
            </a:r>
            <a:r>
              <a:rPr lang="uk-UA" sz="900" b="0" i="0" dirty="0">
                <a:solidFill>
                  <a:srgbClr val="212529"/>
                </a:solidFill>
                <a:effectLst/>
              </a:rPr>
              <a:t>від 28.12.2007 - зміну визнано неконституційною згідно з Рішенням Конституційного Суду № 10-рп/2008 від 22.05.2008; із змінами, внесеними згідно із Законом № 1546-</a:t>
            </a:r>
            <a:r>
              <a:rPr lang="en-US" sz="900" b="0" i="0" dirty="0">
                <a:solidFill>
                  <a:srgbClr val="212529"/>
                </a:solidFill>
                <a:effectLst/>
              </a:rPr>
              <a:t>VI </a:t>
            </a:r>
            <a:r>
              <a:rPr lang="uk-UA" sz="900" b="0" i="0" dirty="0">
                <a:solidFill>
                  <a:srgbClr val="212529"/>
                </a:solidFill>
                <a:effectLst/>
              </a:rPr>
              <a:t>від 23.06.2009; в редакції Закону № 2299-</a:t>
            </a:r>
            <a:r>
              <a:rPr lang="en-US" sz="900" b="0" i="0" dirty="0">
                <a:solidFill>
                  <a:srgbClr val="212529"/>
                </a:solidFill>
                <a:effectLst/>
              </a:rPr>
              <a:t>VI </a:t>
            </a:r>
            <a:r>
              <a:rPr lang="uk-UA" sz="900" b="0" i="0" dirty="0">
                <a:solidFill>
                  <a:srgbClr val="212529"/>
                </a:solidFill>
                <a:effectLst/>
              </a:rPr>
              <a:t>від 01.06.2010; із змінами, внесеними згідно із Законами № 2367-</a:t>
            </a:r>
            <a:r>
              <a:rPr lang="en-US" sz="900" b="0" i="0" dirty="0">
                <a:solidFill>
                  <a:srgbClr val="212529"/>
                </a:solidFill>
                <a:effectLst/>
              </a:rPr>
              <a:t>VI </a:t>
            </a:r>
            <a:r>
              <a:rPr lang="uk-UA" sz="900" b="0" i="0" dirty="0">
                <a:solidFill>
                  <a:srgbClr val="212529"/>
                </a:solidFill>
                <a:effectLst/>
              </a:rPr>
              <a:t>від 29.06.2010, № 2467-</a:t>
            </a:r>
            <a:r>
              <a:rPr lang="en-US" sz="900" b="0" i="0" dirty="0">
                <a:solidFill>
                  <a:srgbClr val="212529"/>
                </a:solidFill>
                <a:effectLst/>
              </a:rPr>
              <a:t>VI </a:t>
            </a:r>
            <a:r>
              <a:rPr lang="uk-UA" sz="900" b="0" i="0" dirty="0">
                <a:solidFill>
                  <a:srgbClr val="212529"/>
                </a:solidFill>
                <a:effectLst/>
              </a:rPr>
              <a:t>від 08.07.2010, № 2756-</a:t>
            </a:r>
            <a:r>
              <a:rPr lang="en-US" sz="900" b="0" i="0" dirty="0">
                <a:solidFill>
                  <a:srgbClr val="212529"/>
                </a:solidFill>
                <a:effectLst/>
              </a:rPr>
              <a:t>VI </a:t>
            </a:r>
            <a:r>
              <a:rPr lang="uk-UA" sz="900" b="0" i="0" dirty="0">
                <a:solidFill>
                  <a:srgbClr val="212529"/>
                </a:solidFill>
                <a:effectLst/>
              </a:rPr>
              <a:t>від 02.12.2010, № 3437-</a:t>
            </a:r>
            <a:r>
              <a:rPr lang="en-US" sz="900" b="0" i="0" dirty="0">
                <a:solidFill>
                  <a:srgbClr val="212529"/>
                </a:solidFill>
                <a:effectLst/>
              </a:rPr>
              <a:t>VI </a:t>
            </a:r>
            <a:r>
              <a:rPr lang="uk-UA" sz="900" b="0" i="0" dirty="0">
                <a:solidFill>
                  <a:srgbClr val="212529"/>
                </a:solidFill>
                <a:effectLst/>
              </a:rPr>
              <a:t>від 31.05.2011, Кодексом № 3393-</a:t>
            </a:r>
            <a:r>
              <a:rPr lang="en-US" sz="900" b="0" i="0" dirty="0">
                <a:solidFill>
                  <a:srgbClr val="212529"/>
                </a:solidFill>
                <a:effectLst/>
              </a:rPr>
              <a:t>VI </a:t>
            </a:r>
            <a:r>
              <a:rPr lang="uk-UA" sz="900" b="0" i="0" dirty="0">
                <a:solidFill>
                  <a:srgbClr val="212529"/>
                </a:solidFill>
                <a:effectLst/>
              </a:rPr>
              <a:t>від 19.05.2011, Законами № 4652-</a:t>
            </a:r>
            <a:r>
              <a:rPr lang="en-US" sz="900" b="0" i="0" dirty="0">
                <a:solidFill>
                  <a:srgbClr val="212529"/>
                </a:solidFill>
                <a:effectLst/>
              </a:rPr>
              <a:t>VI </a:t>
            </a:r>
            <a:r>
              <a:rPr lang="uk-UA" sz="900" b="0" i="0" dirty="0">
                <a:solidFill>
                  <a:srgbClr val="212529"/>
                </a:solidFill>
                <a:effectLst/>
              </a:rPr>
              <a:t>від 13.04.2012, № 5502-</a:t>
            </a:r>
            <a:r>
              <a:rPr lang="en-US" sz="900" b="0" i="0" dirty="0">
                <a:solidFill>
                  <a:srgbClr val="212529"/>
                </a:solidFill>
                <a:effectLst/>
              </a:rPr>
              <a:t>VI </a:t>
            </a:r>
            <a:r>
              <a:rPr lang="uk-UA" sz="900" b="0" i="0" dirty="0">
                <a:solidFill>
                  <a:srgbClr val="212529"/>
                </a:solidFill>
                <a:effectLst/>
              </a:rPr>
              <a:t>від 20.11.2012, № 406-</a:t>
            </a:r>
            <a:r>
              <a:rPr lang="en-US" sz="900" b="0" i="0" dirty="0">
                <a:solidFill>
                  <a:srgbClr val="212529"/>
                </a:solidFill>
                <a:effectLst/>
              </a:rPr>
              <a:t>VII </a:t>
            </a:r>
            <a:r>
              <a:rPr lang="uk-UA" sz="900" b="0" i="0" dirty="0">
                <a:solidFill>
                  <a:srgbClr val="212529"/>
                </a:solidFill>
                <a:effectLst/>
              </a:rPr>
              <a:t>від 04.07.2013, № 1194-</a:t>
            </a:r>
            <a:r>
              <a:rPr lang="en-US" sz="900" b="0" i="0" dirty="0">
                <a:solidFill>
                  <a:srgbClr val="212529"/>
                </a:solidFill>
                <a:effectLst/>
              </a:rPr>
              <a:t>VII </a:t>
            </a:r>
            <a:r>
              <a:rPr lang="uk-UA" sz="900" b="0" i="0" dirty="0">
                <a:solidFill>
                  <a:srgbClr val="212529"/>
                </a:solidFill>
                <a:effectLst/>
              </a:rPr>
              <a:t>від 09.04.2014; в редакції Закону № 1600-</a:t>
            </a:r>
            <a:r>
              <a:rPr lang="en-US" sz="900" b="0" i="0" dirty="0">
                <a:solidFill>
                  <a:srgbClr val="212529"/>
                </a:solidFill>
                <a:effectLst/>
              </a:rPr>
              <a:t>VII </a:t>
            </a:r>
            <a:r>
              <a:rPr lang="uk-UA" sz="900" b="0" i="0" dirty="0">
                <a:solidFill>
                  <a:srgbClr val="212529"/>
                </a:solidFill>
                <a:effectLst/>
              </a:rPr>
              <a:t>від 22.07.2014; із змінами, внесеними згідно із Законами № 71-</a:t>
            </a:r>
            <a:r>
              <a:rPr lang="en-US" sz="900" b="0" i="0" dirty="0">
                <a:solidFill>
                  <a:srgbClr val="212529"/>
                </a:solidFill>
                <a:effectLst/>
              </a:rPr>
              <a:t>VIII </a:t>
            </a:r>
            <a:r>
              <a:rPr lang="uk-UA" sz="900" b="0" i="0" dirty="0">
                <a:solidFill>
                  <a:srgbClr val="212529"/>
                </a:solidFill>
                <a:effectLst/>
              </a:rPr>
              <a:t>від 28.12.2014, № 77-</a:t>
            </a:r>
            <a:r>
              <a:rPr lang="en-US" sz="900" b="0" i="0" dirty="0">
                <a:solidFill>
                  <a:srgbClr val="212529"/>
                </a:solidFill>
                <a:effectLst/>
              </a:rPr>
              <a:t>VIII </a:t>
            </a:r>
            <a:r>
              <a:rPr lang="uk-UA" sz="900" b="0" i="0" dirty="0">
                <a:solidFill>
                  <a:srgbClr val="212529"/>
                </a:solidFill>
                <a:effectLst/>
              </a:rPr>
              <a:t>від 28.12.2014, № 320-</a:t>
            </a:r>
            <a:r>
              <a:rPr lang="en-US" sz="900" b="0" i="0" dirty="0">
                <a:solidFill>
                  <a:srgbClr val="212529"/>
                </a:solidFill>
                <a:effectLst/>
              </a:rPr>
              <a:t>VIII </a:t>
            </a:r>
            <a:r>
              <a:rPr lang="uk-UA" sz="900" b="0" i="0" dirty="0">
                <a:solidFill>
                  <a:srgbClr val="212529"/>
                </a:solidFill>
                <a:effectLst/>
              </a:rPr>
              <a:t>від 09.04.2015, № 1540-</a:t>
            </a:r>
            <a:r>
              <a:rPr lang="en-US" sz="900" b="0" i="0" dirty="0">
                <a:solidFill>
                  <a:srgbClr val="212529"/>
                </a:solidFill>
                <a:effectLst/>
              </a:rPr>
              <a:t>VIII </a:t>
            </a:r>
            <a:r>
              <a:rPr lang="uk-UA" sz="900" b="0" i="0" dirty="0">
                <a:solidFill>
                  <a:srgbClr val="212529"/>
                </a:solidFill>
                <a:effectLst/>
              </a:rPr>
              <a:t>від 22.09.2016; в редакції Закону № 1726-</a:t>
            </a:r>
            <a:r>
              <a:rPr lang="en-US" sz="900" b="0" i="0" dirty="0">
                <a:solidFill>
                  <a:srgbClr val="212529"/>
                </a:solidFill>
                <a:effectLst/>
              </a:rPr>
              <a:t>VIII </a:t>
            </a:r>
            <a:r>
              <a:rPr lang="uk-UA" sz="900" b="0" i="0" dirty="0">
                <a:solidFill>
                  <a:srgbClr val="212529"/>
                </a:solidFill>
                <a:effectLst/>
              </a:rPr>
              <a:t>від 03.11.2016; із змінами, внесеними згідно із Законами № 79-</a:t>
            </a:r>
            <a:r>
              <a:rPr lang="en-US" sz="900" b="0" i="0" dirty="0">
                <a:solidFill>
                  <a:srgbClr val="212529"/>
                </a:solidFill>
                <a:effectLst/>
              </a:rPr>
              <a:t>IX </a:t>
            </a:r>
            <a:r>
              <a:rPr lang="uk-UA" sz="900" b="0" i="0" dirty="0">
                <a:solidFill>
                  <a:srgbClr val="212529"/>
                </a:solidFill>
                <a:effectLst/>
              </a:rPr>
              <a:t>від 12.09.2019, № 143-</a:t>
            </a:r>
            <a:r>
              <a:rPr lang="en-US" sz="900" b="0" i="0" dirty="0">
                <a:solidFill>
                  <a:srgbClr val="212529"/>
                </a:solidFill>
                <a:effectLst/>
              </a:rPr>
              <a:t>IX </a:t>
            </a:r>
            <a:r>
              <a:rPr lang="uk-UA" sz="900" b="0" i="0" dirty="0">
                <a:solidFill>
                  <a:srgbClr val="212529"/>
                </a:solidFill>
                <a:effectLst/>
              </a:rPr>
              <a:t>від 02.10.2019, № 367-</a:t>
            </a:r>
            <a:r>
              <a:rPr lang="en-US" sz="900" b="0" i="0" dirty="0">
                <a:solidFill>
                  <a:srgbClr val="212529"/>
                </a:solidFill>
                <a:effectLst/>
              </a:rPr>
              <a:t>IX </a:t>
            </a:r>
            <a:r>
              <a:rPr lang="uk-UA" sz="900" b="0" i="0" dirty="0">
                <a:solidFill>
                  <a:srgbClr val="212529"/>
                </a:solidFill>
                <a:effectLst/>
              </a:rPr>
              <a:t>від 12.12.2019, № 394-</a:t>
            </a:r>
            <a:r>
              <a:rPr lang="en-US" sz="900" b="0" i="0" dirty="0">
                <a:solidFill>
                  <a:srgbClr val="212529"/>
                </a:solidFill>
                <a:effectLst/>
              </a:rPr>
              <a:t>IX </a:t>
            </a:r>
            <a:r>
              <a:rPr lang="uk-UA" sz="900" b="0" i="0" dirty="0">
                <a:solidFill>
                  <a:srgbClr val="212529"/>
                </a:solidFill>
                <a:effectLst/>
              </a:rPr>
              <a:t>від 19.12.2019, № 440-</a:t>
            </a:r>
            <a:r>
              <a:rPr lang="en-US" sz="900" b="0" i="0" dirty="0">
                <a:solidFill>
                  <a:srgbClr val="212529"/>
                </a:solidFill>
                <a:effectLst/>
              </a:rPr>
              <a:t>IX </a:t>
            </a:r>
            <a:r>
              <a:rPr lang="uk-UA" sz="900" b="0" i="0" dirty="0">
                <a:solidFill>
                  <a:srgbClr val="212529"/>
                </a:solidFill>
                <a:effectLst/>
              </a:rPr>
              <a:t>від 14.01.2020, № 613-</a:t>
            </a:r>
            <a:r>
              <a:rPr lang="en-US" sz="900" b="0" i="0" dirty="0">
                <a:solidFill>
                  <a:srgbClr val="212529"/>
                </a:solidFill>
                <a:effectLst/>
              </a:rPr>
              <a:t>IX </a:t>
            </a:r>
            <a:r>
              <a:rPr lang="uk-UA" sz="900" b="0" i="0" dirty="0">
                <a:solidFill>
                  <a:srgbClr val="212529"/>
                </a:solidFill>
                <a:effectLst/>
              </a:rPr>
              <a:t>від 19.05.2020}</a:t>
            </a:r>
          </a:p>
          <a:p>
            <a:pPr algn="l"/>
            <a:endParaRPr lang="uk-UA" sz="900" b="0" i="0" dirty="0">
              <a:solidFill>
                <a:srgbClr val="212529"/>
              </a:solidFill>
              <a:effectLst/>
            </a:endParaRPr>
          </a:p>
          <a:p>
            <a:pPr algn="l"/>
            <a:r>
              <a:rPr lang="uk-UA" sz="900" b="0" i="0" dirty="0">
                <a:solidFill>
                  <a:srgbClr val="212529"/>
                </a:solidFill>
                <a:effectLst/>
              </a:rPr>
              <a:t>Контроль за додержанням організаторами азартних ігор вимог Закону України "Про державне регулювання діяльності щодо організації та проведення азартних ігор" та ліцензійних умов здійснюється у встановленому цим Законом порядку з урахуванням особливостей, визначених Законом України "Про державне регулювання діяльності щодо організації та проведення азартних ігор".</a:t>
            </a:r>
          </a:p>
          <a:p>
            <a:pPr algn="l"/>
            <a:endParaRPr lang="uk-UA" sz="900" b="0" i="0" dirty="0">
              <a:solidFill>
                <a:srgbClr val="212529"/>
              </a:solidFill>
              <a:effectLst/>
            </a:endParaRPr>
          </a:p>
          <a:p>
            <a:pPr algn="l"/>
            <a:r>
              <a:rPr lang="uk-UA" sz="900" b="0" i="0" dirty="0">
                <a:solidFill>
                  <a:srgbClr val="212529"/>
                </a:solidFill>
                <a:effectLst/>
              </a:rPr>
              <a:t>{Статтю 2 доповнено новою частиною згідно із Законом № 768-</a:t>
            </a:r>
            <a:r>
              <a:rPr lang="en-US" sz="900" b="0" i="0" dirty="0">
                <a:solidFill>
                  <a:srgbClr val="212529"/>
                </a:solidFill>
                <a:effectLst/>
              </a:rPr>
              <a:t>IX </a:t>
            </a:r>
            <a:r>
              <a:rPr lang="uk-UA" sz="900" b="0" i="0" dirty="0">
                <a:solidFill>
                  <a:srgbClr val="212529"/>
                </a:solidFill>
                <a:effectLst/>
              </a:rPr>
              <a:t>від 14.07.2020}</a:t>
            </a:r>
          </a:p>
          <a:p>
            <a:pPr algn="l"/>
            <a:endParaRPr lang="uk-UA" sz="900" b="0" i="0" dirty="0">
              <a:solidFill>
                <a:srgbClr val="212529"/>
              </a:solidFill>
              <a:effectLst/>
            </a:endParaRPr>
          </a:p>
          <a:p>
            <a:pPr algn="l"/>
            <a:r>
              <a:rPr lang="uk-UA" sz="900" b="0" i="0" dirty="0">
                <a:solidFill>
                  <a:srgbClr val="212529"/>
                </a:solidFill>
                <a:effectLst/>
              </a:rPr>
              <a:t>Контроль за додержанням ліцензіатами вимог ліцензійних умов здійснюється органами ліцензування у встановленому цим Законом порядку з урахуванням особливостей, визначених Законом України "Про ліцензування видів господарської діяльності".</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222-</a:t>
            </a:r>
            <a:r>
              <a:rPr lang="en-US" sz="900" b="0" i="0" dirty="0">
                <a:solidFill>
                  <a:srgbClr val="212529"/>
                </a:solidFill>
                <a:effectLst/>
              </a:rPr>
              <a:t>VIII </a:t>
            </a:r>
            <a:r>
              <a:rPr lang="uk-UA" sz="900" b="0" i="0" dirty="0">
                <a:solidFill>
                  <a:srgbClr val="212529"/>
                </a:solidFill>
                <a:effectLst/>
              </a:rPr>
              <a:t>від 02.03.2015}</a:t>
            </a:r>
          </a:p>
          <a:p>
            <a:pPr algn="l"/>
            <a:endParaRPr lang="uk-UA" sz="900" b="0" i="0" dirty="0">
              <a:solidFill>
                <a:srgbClr val="212529"/>
              </a:solidFill>
              <a:effectLst/>
            </a:endParaRPr>
          </a:p>
          <a:p>
            <a:pPr algn="l"/>
            <a:r>
              <a:rPr lang="uk-UA" sz="900" b="0" i="0" dirty="0">
                <a:solidFill>
                  <a:srgbClr val="212529"/>
                </a:solidFill>
                <a:effectLst/>
              </a:rPr>
              <a:t>Заходи контролю здійснюються органами державного архітектурно-будівельного контролю (нагляду), державного нагляду та контролю за додержанням законодавства про працю та зайнятість населення, державного контролю за додержанням законодавства у сфері моніторингу, звітності та верифікації викидів парникових газів у встановленому цим Законом порядку з урахуванням особливостей, визначених законами у відповідних сферах та міжнародними договорами, зокрема державного нагляду (контролю) в галузі цивільної авіації - з урахуванням особливостей, встановлених Повітряним кодексом України, нормативно-правовими актами, прийнятими на його виконання (Авіаційними правилами України), та міжнародними договорами у сфері цивільної авіації.</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1726-</a:t>
            </a:r>
            <a:r>
              <a:rPr lang="en-US" sz="900" b="0" i="0" dirty="0">
                <a:solidFill>
                  <a:srgbClr val="212529"/>
                </a:solidFill>
                <a:effectLst/>
              </a:rPr>
              <a:t>VIII </a:t>
            </a:r>
            <a:r>
              <a:rPr lang="uk-UA" sz="900" b="0" i="0" dirty="0">
                <a:solidFill>
                  <a:srgbClr val="212529"/>
                </a:solidFill>
                <a:effectLst/>
              </a:rPr>
              <a:t>від 03.11.2016; із змінами, внесеними згідно із Законами № 79-</a:t>
            </a:r>
            <a:r>
              <a:rPr lang="en-US" sz="900" b="0" i="0" dirty="0">
                <a:solidFill>
                  <a:srgbClr val="212529"/>
                </a:solidFill>
                <a:effectLst/>
              </a:rPr>
              <a:t>IX </a:t>
            </a:r>
            <a:r>
              <a:rPr lang="uk-UA" sz="900" b="0" i="0" dirty="0">
                <a:solidFill>
                  <a:srgbClr val="212529"/>
                </a:solidFill>
                <a:effectLst/>
              </a:rPr>
              <a:t>від 12.09.2019, № 377-</a:t>
            </a:r>
            <a:r>
              <a:rPr lang="en-US" sz="900" b="0" i="0" dirty="0">
                <a:solidFill>
                  <a:srgbClr val="212529"/>
                </a:solidFill>
                <a:effectLst/>
              </a:rPr>
              <a:t>IX </a:t>
            </a:r>
            <a:r>
              <a:rPr lang="uk-UA" sz="900" b="0" i="0" dirty="0">
                <a:solidFill>
                  <a:srgbClr val="212529"/>
                </a:solidFill>
                <a:effectLst/>
              </a:rPr>
              <a:t>від 12.12.2019, № 440-</a:t>
            </a:r>
            <a:r>
              <a:rPr lang="en-US" sz="900" b="0" i="0" dirty="0">
                <a:solidFill>
                  <a:srgbClr val="212529"/>
                </a:solidFill>
                <a:effectLst/>
              </a:rPr>
              <a:t>IX </a:t>
            </a:r>
            <a:r>
              <a:rPr lang="uk-UA" sz="900" b="0" i="0" dirty="0">
                <a:solidFill>
                  <a:srgbClr val="212529"/>
                </a:solidFill>
                <a:effectLst/>
              </a:rPr>
              <a:t>від 14.01.2020, № 613-</a:t>
            </a:r>
            <a:r>
              <a:rPr lang="en-US" sz="900" b="0" i="0" dirty="0">
                <a:solidFill>
                  <a:srgbClr val="212529"/>
                </a:solidFill>
                <a:effectLst/>
              </a:rPr>
              <a:t>IX </a:t>
            </a:r>
            <a:r>
              <a:rPr lang="uk-UA" sz="900" b="0" i="0" dirty="0">
                <a:solidFill>
                  <a:srgbClr val="212529"/>
                </a:solidFill>
                <a:effectLst/>
              </a:rPr>
              <a:t>від 19.05.2020}</a:t>
            </a:r>
          </a:p>
          <a:p>
            <a:pPr algn="l"/>
            <a:endParaRPr lang="uk-UA" sz="900" b="0" i="0" dirty="0">
              <a:solidFill>
                <a:srgbClr val="212529"/>
              </a:solidFill>
              <a:effectLst/>
            </a:endParaRPr>
          </a:p>
          <a:p>
            <a:pPr algn="l"/>
            <a:r>
              <a:rPr lang="uk-UA" sz="900" b="0" i="0" dirty="0">
                <a:solidFill>
                  <a:srgbClr val="212529"/>
                </a:solidFill>
                <a:effectLst/>
              </a:rPr>
              <a:t>Зазначені у частині четвертій цієї статті органи, що здійснюють державний нагляд (контроль) у встановленому цим Законом порядку з урахуванням особливостей, визначених законами у відповідних сферах та міжнародними договорами, зобов’язані забезпечити дотримання вимог статті 1, статті 3, частин першої, четвертої, шостої - восьмої, абзацу другого частини десятої, частин дванадцятої - чотирнадцятої статті 4, частини одинадцятої статті 4-1, частини третьої статті 6, частин першої - четвертої, шостої та десятої статті 7, статей 9, 10, 12, 19, 20, 21 цього Закону.</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1726-</a:t>
            </a:r>
            <a:r>
              <a:rPr lang="en-US" sz="900" b="0" i="0" dirty="0">
                <a:solidFill>
                  <a:srgbClr val="212529"/>
                </a:solidFill>
                <a:effectLst/>
              </a:rPr>
              <a:t>VIII </a:t>
            </a:r>
            <a:r>
              <a:rPr lang="uk-UA" sz="900" b="0" i="0" dirty="0">
                <a:solidFill>
                  <a:srgbClr val="212529"/>
                </a:solidFill>
                <a:effectLst/>
              </a:rPr>
              <a:t>від 03.11.2016; в редакції Закону № 367-</a:t>
            </a:r>
            <a:r>
              <a:rPr lang="en-US" sz="900" b="0" i="0" dirty="0">
                <a:solidFill>
                  <a:srgbClr val="212529"/>
                </a:solidFill>
                <a:effectLst/>
              </a:rPr>
              <a:t>IX </a:t>
            </a:r>
            <a:r>
              <a:rPr lang="uk-UA" sz="900" b="0" i="0" dirty="0">
                <a:solidFill>
                  <a:srgbClr val="212529"/>
                </a:solidFill>
                <a:effectLst/>
              </a:rPr>
              <a:t>від 12.12.2019}</a:t>
            </a:r>
          </a:p>
          <a:p>
            <a:pPr algn="l"/>
            <a:endParaRPr lang="uk-UA" sz="900" b="0" i="0" dirty="0">
              <a:solidFill>
                <a:srgbClr val="212529"/>
              </a:solidFill>
              <a:effectLst/>
            </a:endParaRPr>
          </a:p>
          <a:p>
            <a:pPr algn="l"/>
            <a:r>
              <a:rPr lang="uk-UA" sz="900" b="0" i="0" dirty="0">
                <a:solidFill>
                  <a:srgbClr val="212529"/>
                </a:solidFill>
                <a:effectLst/>
              </a:rPr>
              <a:t>Центральний орган виконавчої влади, що реалізує державну політику у сфері безпечності та окремих показників якості харчових продуктів та у сфері ветеринарної медицини, його територіальні органи зобов’язані забезпечити дотримання з урахуванням особливостей, визначених Законом України "Про державний контроль за дотриманням законодавства про харчові продукти, корми, побічні продукти тваринного походження, здоров’я та благополуччя тварин", виключно вимог частин першої, четвертої, шостої - сьомої, абзацу другого частини десятої, частин дванадцятої - чотирнадцятої статті 4, частин першої (крім вимоги щодо отримання погодження центрального органу виконавчої влади, що реалізує державну політику у відповідній сфері державного нагляду (контролю), або відповідного державного колегіального органу на проведення позапланового заходу) та третьої статті 6, частин першої - четвертої, шостої, восьмої - десятої статті 7, частин першої та другої статті 12, статей 13-18, 20, 21 цього Закону.</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2042-</a:t>
            </a:r>
            <a:r>
              <a:rPr lang="en-US" sz="900" b="0" i="0" dirty="0">
                <a:solidFill>
                  <a:srgbClr val="212529"/>
                </a:solidFill>
                <a:effectLst/>
              </a:rPr>
              <a:t>VIII </a:t>
            </a:r>
            <a:r>
              <a:rPr lang="uk-UA" sz="900" b="0" i="0" dirty="0">
                <a:solidFill>
                  <a:srgbClr val="212529"/>
                </a:solidFill>
                <a:effectLst/>
              </a:rPr>
              <a:t>від 18.05.2017; із змінами, внесеними згідно із Законом № 367-</a:t>
            </a:r>
            <a:r>
              <a:rPr lang="en-US" sz="900" b="0" i="0" dirty="0">
                <a:solidFill>
                  <a:srgbClr val="212529"/>
                </a:solidFill>
                <a:effectLst/>
              </a:rPr>
              <a:t>IX </a:t>
            </a:r>
            <a:r>
              <a:rPr lang="uk-UA" sz="900" b="0" i="0" dirty="0">
                <a:solidFill>
                  <a:srgbClr val="212529"/>
                </a:solidFill>
                <a:effectLst/>
              </a:rPr>
              <a:t>від 12.12.2019}</a:t>
            </a:r>
          </a:p>
          <a:p>
            <a:pPr algn="l"/>
            <a:endParaRPr lang="uk-UA" sz="900" b="0" i="0" dirty="0">
              <a:solidFill>
                <a:srgbClr val="212529"/>
              </a:solidFill>
              <a:effectLst/>
            </a:endParaRPr>
          </a:p>
          <a:p>
            <a:pPr algn="l"/>
            <a:r>
              <a:rPr lang="uk-UA" sz="900" b="0" i="0" dirty="0">
                <a:solidFill>
                  <a:srgbClr val="212529"/>
                </a:solidFill>
                <a:effectLst/>
              </a:rPr>
              <a:t>Моніторинг призначених органів з оцінки відповідності і визнаних незалежних організацій здійснюється у встановленому цим Законом порядку з урахуванням особливостей, визначених Законом України "Про технічні регламенти та оцінку відповідності".</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2740-</a:t>
            </a:r>
            <a:r>
              <a:rPr lang="en-US" sz="900" b="0" i="0" dirty="0">
                <a:solidFill>
                  <a:srgbClr val="212529"/>
                </a:solidFill>
                <a:effectLst/>
              </a:rPr>
              <a:t>VIII </a:t>
            </a:r>
            <a:r>
              <a:rPr lang="uk-UA" sz="900" b="0" i="0" dirty="0">
                <a:solidFill>
                  <a:srgbClr val="212529"/>
                </a:solidFill>
                <a:effectLst/>
              </a:rPr>
              <a:t>від 06.06.2019}</a:t>
            </a:r>
          </a:p>
          <a:p>
            <a:pPr algn="l"/>
            <a:endParaRPr lang="uk-UA" sz="900" b="0" i="0" dirty="0">
              <a:solidFill>
                <a:srgbClr val="212529"/>
              </a:solidFill>
              <a:effectLst/>
            </a:endParaRPr>
          </a:p>
          <a:p>
            <a:pPr algn="l"/>
            <a:r>
              <a:rPr lang="uk-UA" sz="900" b="0" i="0" dirty="0">
                <a:solidFill>
                  <a:srgbClr val="212529"/>
                </a:solidFill>
                <a:effectLst/>
              </a:rPr>
              <a:t>Центральний орган виконавчої влади із забезпечення якості освіти та його територіальні органи зобов’язані забезпечити дотримання з урахуванням особливостей, визначених Законом України "Про освіту", виключно вимог статті 3, частин першої, третьої, четвертої, шостої - дванадцятої, чотирнадцятої статті 4, частини четвертої статті 5, частини третьої статті 6, абзацу одинадцятого частини шостої статті 7, частини першої, абзаців першого - дванадцятого, чотирнадцятого частини другої, частини третьої статті 8, частин першої, другої статті 9, абзаців першого - одинадцятого, чотирнадцятого - двадцятого частини першої статті 10, абзаців третього - п’ятого частини першої статті 11, частин першої та четвертої статті 12, статей 19-20 цього Закону.</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згідно із Законом № 463-</a:t>
            </a:r>
            <a:r>
              <a:rPr lang="en-US" sz="900" b="0" i="0" dirty="0">
                <a:solidFill>
                  <a:srgbClr val="212529"/>
                </a:solidFill>
                <a:effectLst/>
              </a:rPr>
              <a:t>IX </a:t>
            </a:r>
            <a:r>
              <a:rPr lang="uk-UA" sz="900" b="0" i="0" dirty="0">
                <a:solidFill>
                  <a:srgbClr val="212529"/>
                </a:solidFill>
                <a:effectLst/>
              </a:rPr>
              <a:t>від 16.01.2020}</a:t>
            </a:r>
          </a:p>
          <a:p>
            <a:pPr algn="l"/>
            <a:endParaRPr lang="uk-UA" sz="900" b="0" i="0" dirty="0">
              <a:solidFill>
                <a:srgbClr val="212529"/>
              </a:solidFill>
              <a:effectLst/>
            </a:endParaRPr>
          </a:p>
          <a:p>
            <a:pPr algn="l"/>
            <a:r>
              <a:rPr lang="uk-UA" sz="900" b="0" i="0" dirty="0">
                <a:solidFill>
                  <a:srgbClr val="212529"/>
                </a:solidFill>
                <a:effectLst/>
              </a:rPr>
              <a:t>Контроль за додержанням законодавства у сфері донорства крові та компонентів крові здійснюється у встановленому цим Законом порядку з урахуванням особливостей, визначених Законом України "Про безпеку та якість донорської крові та компонентів крові".</a:t>
            </a:r>
          </a:p>
          <a:p>
            <a:pPr algn="l"/>
            <a:endParaRPr lang="uk-UA" sz="900" b="0" i="0" dirty="0">
              <a:solidFill>
                <a:srgbClr val="212529"/>
              </a:solidFill>
              <a:effectLst/>
            </a:endParaRPr>
          </a:p>
          <a:p>
            <a:pPr algn="l"/>
            <a:r>
              <a:rPr lang="uk-UA" sz="900" b="0" i="0" dirty="0">
                <a:solidFill>
                  <a:srgbClr val="212529"/>
                </a:solidFill>
                <a:effectLst/>
              </a:rPr>
              <a:t>{Статтю 2 доповнено частиною десятою згідно із Законом № 931-</a:t>
            </a:r>
            <a:r>
              <a:rPr lang="en-US" sz="900" b="0" i="0" dirty="0">
                <a:solidFill>
                  <a:srgbClr val="212529"/>
                </a:solidFill>
                <a:effectLst/>
              </a:rPr>
              <a:t>IX </a:t>
            </a:r>
            <a:r>
              <a:rPr lang="uk-UA" sz="900" b="0" i="0" dirty="0">
                <a:solidFill>
                  <a:srgbClr val="212529"/>
                </a:solidFill>
                <a:effectLst/>
              </a:rPr>
              <a:t>від 30.09.2020 - вводиться в дію з 25.01.2021}</a:t>
            </a:r>
            <a:endParaRPr lang="uk-UA" sz="900" dirty="0"/>
          </a:p>
        </p:txBody>
      </p:sp>
      <p:sp>
        <p:nvSpPr>
          <p:cNvPr id="7" name="Овал 6">
            <a:extLst>
              <a:ext uri="{FF2B5EF4-FFF2-40B4-BE49-F238E27FC236}">
                <a16:creationId xmlns:a16="http://schemas.microsoft.com/office/drawing/2014/main" id="{2BE376AF-636C-4CF7-B7BC-7B15784162DC}"/>
              </a:ext>
            </a:extLst>
          </p:cNvPr>
          <p:cNvSpPr/>
          <p:nvPr/>
        </p:nvSpPr>
        <p:spPr>
          <a:xfrm>
            <a:off x="4508956" y="5629678"/>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1</a:t>
            </a:r>
          </a:p>
        </p:txBody>
      </p:sp>
      <p:sp>
        <p:nvSpPr>
          <p:cNvPr id="8" name="Овал 7">
            <a:extLst>
              <a:ext uri="{FF2B5EF4-FFF2-40B4-BE49-F238E27FC236}">
                <a16:creationId xmlns:a16="http://schemas.microsoft.com/office/drawing/2014/main" id="{7932F6D6-0177-4EA8-80E6-772F1CDF6190}"/>
              </a:ext>
            </a:extLst>
          </p:cNvPr>
          <p:cNvSpPr/>
          <p:nvPr/>
        </p:nvSpPr>
        <p:spPr>
          <a:xfrm>
            <a:off x="4508956" y="4427812"/>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2</a:t>
            </a:r>
          </a:p>
        </p:txBody>
      </p:sp>
      <p:sp>
        <p:nvSpPr>
          <p:cNvPr id="9" name="Овал 8">
            <a:extLst>
              <a:ext uri="{FF2B5EF4-FFF2-40B4-BE49-F238E27FC236}">
                <a16:creationId xmlns:a16="http://schemas.microsoft.com/office/drawing/2014/main" id="{6409B5F4-1A62-4B5F-BEDC-AF0835988721}"/>
              </a:ext>
            </a:extLst>
          </p:cNvPr>
          <p:cNvSpPr/>
          <p:nvPr/>
        </p:nvSpPr>
        <p:spPr>
          <a:xfrm>
            <a:off x="4508956" y="1025268"/>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3</a:t>
            </a:r>
          </a:p>
        </p:txBody>
      </p:sp>
      <p:sp>
        <p:nvSpPr>
          <p:cNvPr id="10" name="Овал 9">
            <a:extLst>
              <a:ext uri="{FF2B5EF4-FFF2-40B4-BE49-F238E27FC236}">
                <a16:creationId xmlns:a16="http://schemas.microsoft.com/office/drawing/2014/main" id="{55A50CBB-C4D9-46CC-97A1-0FFB7C955680}"/>
              </a:ext>
            </a:extLst>
          </p:cNvPr>
          <p:cNvSpPr/>
          <p:nvPr/>
        </p:nvSpPr>
        <p:spPr>
          <a:xfrm>
            <a:off x="4508956" y="5028745"/>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4</a:t>
            </a:r>
          </a:p>
        </p:txBody>
      </p:sp>
      <p:sp>
        <p:nvSpPr>
          <p:cNvPr id="12" name="Овал 11">
            <a:extLst>
              <a:ext uri="{FF2B5EF4-FFF2-40B4-BE49-F238E27FC236}">
                <a16:creationId xmlns:a16="http://schemas.microsoft.com/office/drawing/2014/main" id="{A22D431D-8FF3-4E17-AA79-99D8F29A9BA0}"/>
              </a:ext>
            </a:extLst>
          </p:cNvPr>
          <p:cNvSpPr/>
          <p:nvPr/>
        </p:nvSpPr>
        <p:spPr>
          <a:xfrm>
            <a:off x="4508956" y="2318730"/>
            <a:ext cx="360000" cy="360000"/>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accent1"/>
                </a:solidFill>
                <a:latin typeface="+mj-lt"/>
              </a:rPr>
              <a:t>5</a:t>
            </a:r>
          </a:p>
        </p:txBody>
      </p:sp>
      <p:sp>
        <p:nvSpPr>
          <p:cNvPr id="14" name="Овал 13">
            <a:extLst>
              <a:ext uri="{FF2B5EF4-FFF2-40B4-BE49-F238E27FC236}">
                <a16:creationId xmlns:a16="http://schemas.microsoft.com/office/drawing/2014/main" id="{CBF11A40-7FDE-43C8-AC0C-FB27F34230F6}"/>
              </a:ext>
            </a:extLst>
          </p:cNvPr>
          <p:cNvSpPr/>
          <p:nvPr/>
        </p:nvSpPr>
        <p:spPr>
          <a:xfrm>
            <a:off x="4508956" y="3249000"/>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6</a:t>
            </a:r>
          </a:p>
        </p:txBody>
      </p:sp>
      <p:sp>
        <p:nvSpPr>
          <p:cNvPr id="15" name="Стрілка: вліво 14">
            <a:extLst>
              <a:ext uri="{FF2B5EF4-FFF2-40B4-BE49-F238E27FC236}">
                <a16:creationId xmlns:a16="http://schemas.microsoft.com/office/drawing/2014/main" id="{61839762-8F31-4501-B325-E17002BBEFF4}"/>
              </a:ext>
            </a:extLst>
          </p:cNvPr>
          <p:cNvSpPr/>
          <p:nvPr/>
        </p:nvSpPr>
        <p:spPr>
          <a:xfrm>
            <a:off x="3826930" y="1025268"/>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6" name="Стрілка: вліво 15">
            <a:extLst>
              <a:ext uri="{FF2B5EF4-FFF2-40B4-BE49-F238E27FC236}">
                <a16:creationId xmlns:a16="http://schemas.microsoft.com/office/drawing/2014/main" id="{3555CC1E-9656-46A4-9C13-DAFA96F289A1}"/>
              </a:ext>
            </a:extLst>
          </p:cNvPr>
          <p:cNvSpPr/>
          <p:nvPr/>
        </p:nvSpPr>
        <p:spPr>
          <a:xfrm>
            <a:off x="3826930" y="3249000"/>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7" name="Стрілка: вліво 16">
            <a:extLst>
              <a:ext uri="{FF2B5EF4-FFF2-40B4-BE49-F238E27FC236}">
                <a16:creationId xmlns:a16="http://schemas.microsoft.com/office/drawing/2014/main" id="{2139CE41-B902-45CD-BB72-1AE338360742}"/>
              </a:ext>
            </a:extLst>
          </p:cNvPr>
          <p:cNvSpPr/>
          <p:nvPr/>
        </p:nvSpPr>
        <p:spPr>
          <a:xfrm>
            <a:off x="3826930" y="4427812"/>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8" name="Стрілка: вліво 17">
            <a:extLst>
              <a:ext uri="{FF2B5EF4-FFF2-40B4-BE49-F238E27FC236}">
                <a16:creationId xmlns:a16="http://schemas.microsoft.com/office/drawing/2014/main" id="{70E5BD5C-7804-40D3-AEE1-F23AF87B2317}"/>
              </a:ext>
            </a:extLst>
          </p:cNvPr>
          <p:cNvSpPr/>
          <p:nvPr/>
        </p:nvSpPr>
        <p:spPr>
          <a:xfrm>
            <a:off x="3826930" y="5028745"/>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19" name="Стрілка: вліво 18">
            <a:extLst>
              <a:ext uri="{FF2B5EF4-FFF2-40B4-BE49-F238E27FC236}">
                <a16:creationId xmlns:a16="http://schemas.microsoft.com/office/drawing/2014/main" id="{BE0D1DD1-4CCE-473E-A6B8-E072CB13C9B4}"/>
              </a:ext>
            </a:extLst>
          </p:cNvPr>
          <p:cNvSpPr/>
          <p:nvPr/>
        </p:nvSpPr>
        <p:spPr>
          <a:xfrm>
            <a:off x="3826930" y="5629678"/>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0" name="Стрілка: вліво 19">
            <a:extLst>
              <a:ext uri="{FF2B5EF4-FFF2-40B4-BE49-F238E27FC236}">
                <a16:creationId xmlns:a16="http://schemas.microsoft.com/office/drawing/2014/main" id="{60786F8A-8E00-405E-855D-6CD4C842970E}"/>
              </a:ext>
            </a:extLst>
          </p:cNvPr>
          <p:cNvSpPr/>
          <p:nvPr/>
        </p:nvSpPr>
        <p:spPr>
          <a:xfrm>
            <a:off x="3826930" y="2318730"/>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21" name="Знак множення 20">
            <a:extLst>
              <a:ext uri="{FF2B5EF4-FFF2-40B4-BE49-F238E27FC236}">
                <a16:creationId xmlns:a16="http://schemas.microsoft.com/office/drawing/2014/main" id="{03FFA458-3FE8-4747-9F17-28533BBFC00C}"/>
              </a:ext>
            </a:extLst>
          </p:cNvPr>
          <p:cNvSpPr/>
          <p:nvPr/>
        </p:nvSpPr>
        <p:spPr>
          <a:xfrm>
            <a:off x="3686546" y="2162098"/>
            <a:ext cx="673264" cy="673264"/>
          </a:xfrm>
          <a:prstGeom prst="mathMultiply">
            <a:avLst>
              <a:gd name="adj1" fmla="val 111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grpSp>
        <p:nvGrpSpPr>
          <p:cNvPr id="4" name="Групувати 3">
            <a:extLst>
              <a:ext uri="{FF2B5EF4-FFF2-40B4-BE49-F238E27FC236}">
                <a16:creationId xmlns:a16="http://schemas.microsoft.com/office/drawing/2014/main" id="{93336472-9151-4C97-842F-A4531B2DF0A9}"/>
              </a:ext>
            </a:extLst>
          </p:cNvPr>
          <p:cNvGrpSpPr/>
          <p:nvPr/>
        </p:nvGrpSpPr>
        <p:grpSpPr>
          <a:xfrm>
            <a:off x="7323044" y="1025268"/>
            <a:ext cx="1042026" cy="4964410"/>
            <a:chOff x="6711044" y="1025268"/>
            <a:chExt cx="1042026" cy="4964410"/>
          </a:xfrm>
        </p:grpSpPr>
        <p:sp>
          <p:nvSpPr>
            <p:cNvPr id="24" name="Овал 23">
              <a:extLst>
                <a:ext uri="{FF2B5EF4-FFF2-40B4-BE49-F238E27FC236}">
                  <a16:creationId xmlns:a16="http://schemas.microsoft.com/office/drawing/2014/main" id="{02518063-3665-4BE3-AE53-3C9A035BC561}"/>
                </a:ext>
              </a:extLst>
            </p:cNvPr>
            <p:cNvSpPr/>
            <p:nvPr/>
          </p:nvSpPr>
          <p:spPr>
            <a:xfrm flipH="1">
              <a:off x="6711044" y="5629678"/>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6</a:t>
              </a:r>
            </a:p>
          </p:txBody>
        </p:sp>
        <p:sp>
          <p:nvSpPr>
            <p:cNvPr id="25" name="Овал 24">
              <a:extLst>
                <a:ext uri="{FF2B5EF4-FFF2-40B4-BE49-F238E27FC236}">
                  <a16:creationId xmlns:a16="http://schemas.microsoft.com/office/drawing/2014/main" id="{80C039DD-AE73-4273-96EA-DFABC1DC2D14}"/>
                </a:ext>
              </a:extLst>
            </p:cNvPr>
            <p:cNvSpPr/>
            <p:nvPr/>
          </p:nvSpPr>
          <p:spPr>
            <a:xfrm flipH="1">
              <a:off x="6711044" y="3787914"/>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4</a:t>
              </a:r>
            </a:p>
          </p:txBody>
        </p:sp>
        <p:sp>
          <p:nvSpPr>
            <p:cNvPr id="26" name="Овал 25">
              <a:extLst>
                <a:ext uri="{FF2B5EF4-FFF2-40B4-BE49-F238E27FC236}">
                  <a16:creationId xmlns:a16="http://schemas.microsoft.com/office/drawing/2014/main" id="{55B72D66-9241-4F2A-8CCD-1A54F16DEF7D}"/>
                </a:ext>
              </a:extLst>
            </p:cNvPr>
            <p:cNvSpPr/>
            <p:nvPr/>
          </p:nvSpPr>
          <p:spPr>
            <a:xfrm flipH="1">
              <a:off x="6711044" y="1025268"/>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1</a:t>
              </a:r>
            </a:p>
          </p:txBody>
        </p:sp>
        <p:sp>
          <p:nvSpPr>
            <p:cNvPr id="27" name="Овал 26">
              <a:extLst>
                <a:ext uri="{FF2B5EF4-FFF2-40B4-BE49-F238E27FC236}">
                  <a16:creationId xmlns:a16="http://schemas.microsoft.com/office/drawing/2014/main" id="{C1AD6CA7-6242-4A81-B05A-F8B262B7F20E}"/>
                </a:ext>
              </a:extLst>
            </p:cNvPr>
            <p:cNvSpPr/>
            <p:nvPr/>
          </p:nvSpPr>
          <p:spPr>
            <a:xfrm flipH="1">
              <a:off x="6711044" y="4708796"/>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5</a:t>
              </a:r>
            </a:p>
          </p:txBody>
        </p:sp>
        <p:sp>
          <p:nvSpPr>
            <p:cNvPr id="28" name="Овал 27">
              <a:extLst>
                <a:ext uri="{FF2B5EF4-FFF2-40B4-BE49-F238E27FC236}">
                  <a16:creationId xmlns:a16="http://schemas.microsoft.com/office/drawing/2014/main" id="{A1416170-25FC-4790-9B21-900256F02FCF}"/>
                </a:ext>
              </a:extLst>
            </p:cNvPr>
            <p:cNvSpPr/>
            <p:nvPr/>
          </p:nvSpPr>
          <p:spPr>
            <a:xfrm flipH="1">
              <a:off x="6711044" y="1946150"/>
              <a:ext cx="360000" cy="360000"/>
            </a:xfrm>
            <a:prstGeom prst="ellipse">
              <a:avLst/>
            </a:prstGeom>
            <a:solidFill>
              <a:srgbClr val="4CAF50"/>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2</a:t>
              </a:r>
            </a:p>
          </p:txBody>
        </p:sp>
        <p:sp>
          <p:nvSpPr>
            <p:cNvPr id="29" name="Овал 28">
              <a:extLst>
                <a:ext uri="{FF2B5EF4-FFF2-40B4-BE49-F238E27FC236}">
                  <a16:creationId xmlns:a16="http://schemas.microsoft.com/office/drawing/2014/main" id="{E4602B37-ADE0-4E95-B583-8C83835AD3A2}"/>
                </a:ext>
              </a:extLst>
            </p:cNvPr>
            <p:cNvSpPr/>
            <p:nvPr/>
          </p:nvSpPr>
          <p:spPr>
            <a:xfrm flipH="1">
              <a:off x="6711044" y="2867032"/>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3</a:t>
              </a:r>
            </a:p>
          </p:txBody>
        </p:sp>
        <p:sp>
          <p:nvSpPr>
            <p:cNvPr id="30" name="Стрілка: вліво 29">
              <a:extLst>
                <a:ext uri="{FF2B5EF4-FFF2-40B4-BE49-F238E27FC236}">
                  <a16:creationId xmlns:a16="http://schemas.microsoft.com/office/drawing/2014/main" id="{87DCA489-38CB-4CAD-A912-093E7A74C7F7}"/>
                </a:ext>
              </a:extLst>
            </p:cNvPr>
            <p:cNvSpPr/>
            <p:nvPr/>
          </p:nvSpPr>
          <p:spPr>
            <a:xfrm flipH="1">
              <a:off x="7393070" y="1025268"/>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31" name="Стрілка: вліво 30">
              <a:extLst>
                <a:ext uri="{FF2B5EF4-FFF2-40B4-BE49-F238E27FC236}">
                  <a16:creationId xmlns:a16="http://schemas.microsoft.com/office/drawing/2014/main" id="{96432C82-ABAF-4B9C-86C1-ED79C8405F8E}"/>
                </a:ext>
              </a:extLst>
            </p:cNvPr>
            <p:cNvSpPr/>
            <p:nvPr/>
          </p:nvSpPr>
          <p:spPr>
            <a:xfrm flipH="1">
              <a:off x="7393070" y="2867032"/>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32" name="Стрілка: вліво 31">
              <a:extLst>
                <a:ext uri="{FF2B5EF4-FFF2-40B4-BE49-F238E27FC236}">
                  <a16:creationId xmlns:a16="http://schemas.microsoft.com/office/drawing/2014/main" id="{B884E574-3B3D-4118-82CB-ACC709CFD31C}"/>
                </a:ext>
              </a:extLst>
            </p:cNvPr>
            <p:cNvSpPr/>
            <p:nvPr/>
          </p:nvSpPr>
          <p:spPr>
            <a:xfrm flipH="1">
              <a:off x="7393070" y="3787914"/>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33" name="Стрілка: вліво 32">
              <a:extLst>
                <a:ext uri="{FF2B5EF4-FFF2-40B4-BE49-F238E27FC236}">
                  <a16:creationId xmlns:a16="http://schemas.microsoft.com/office/drawing/2014/main" id="{20B87DEA-6AAC-4B98-9CB6-55B07F9EAC9F}"/>
                </a:ext>
              </a:extLst>
            </p:cNvPr>
            <p:cNvSpPr/>
            <p:nvPr/>
          </p:nvSpPr>
          <p:spPr>
            <a:xfrm flipH="1">
              <a:off x="7393070" y="4708796"/>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34" name="Стрілка: вліво 33">
              <a:extLst>
                <a:ext uri="{FF2B5EF4-FFF2-40B4-BE49-F238E27FC236}">
                  <a16:creationId xmlns:a16="http://schemas.microsoft.com/office/drawing/2014/main" id="{DD137612-7CB3-49D2-992B-CCD095353556}"/>
                </a:ext>
              </a:extLst>
            </p:cNvPr>
            <p:cNvSpPr/>
            <p:nvPr/>
          </p:nvSpPr>
          <p:spPr>
            <a:xfrm flipH="1">
              <a:off x="7393070" y="5629678"/>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35" name="Стрілка: вліво 34">
              <a:extLst>
                <a:ext uri="{FF2B5EF4-FFF2-40B4-BE49-F238E27FC236}">
                  <a16:creationId xmlns:a16="http://schemas.microsoft.com/office/drawing/2014/main" id="{BFE57693-45F7-4634-89EB-DE56B62E87CC}"/>
                </a:ext>
              </a:extLst>
            </p:cNvPr>
            <p:cNvSpPr/>
            <p:nvPr/>
          </p:nvSpPr>
          <p:spPr>
            <a:xfrm flipH="1">
              <a:off x="7393070" y="1946150"/>
              <a:ext cx="360000" cy="360000"/>
            </a:xfrm>
            <a:prstGeom prst="lef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grpSp>
    </p:spTree>
    <p:extLst>
      <p:ext uri="{BB962C8B-B14F-4D97-AF65-F5344CB8AC3E}">
        <p14:creationId xmlns:p14="http://schemas.microsoft.com/office/powerpoint/2010/main" val="26225241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extLst>
              <p:ext uri="{D42A27DB-BD31-4B8C-83A1-F6EECF244321}">
                <p14:modId xmlns:p14="http://schemas.microsoft.com/office/powerpoint/2010/main" val="134135802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11" name="Прямоугольник 10">
            <a:extLst>
              <a:ext uri="{FF2B5EF4-FFF2-40B4-BE49-F238E27FC236}">
                <a16:creationId xmlns:a16="http://schemas.microsoft.com/office/drawing/2014/main" id="{299CC1EA-3C48-7F27-71A4-D983E3D98A4A}"/>
              </a:ext>
            </a:extLst>
          </p:cNvPr>
          <p:cNvSpPr/>
          <p:nvPr/>
        </p:nvSpPr>
        <p:spPr>
          <a:xfrm>
            <a:off x="0" y="0"/>
            <a:ext cx="12192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UA"/>
          </a:p>
        </p:txBody>
      </p:sp>
      <p:sp>
        <p:nvSpPr>
          <p:cNvPr id="3" name="Прямокутник: округлені кути 17">
            <a:extLst>
              <a:ext uri="{FF2B5EF4-FFF2-40B4-BE49-F238E27FC236}">
                <a16:creationId xmlns:a16="http://schemas.microsoft.com/office/drawing/2014/main" id="{DA907573-8669-2953-0575-9AB117F7477A}"/>
              </a:ext>
            </a:extLst>
          </p:cNvPr>
          <p:cNvSpPr/>
          <p:nvPr/>
        </p:nvSpPr>
        <p:spPr>
          <a:xfrm>
            <a:off x="814388" y="1476519"/>
            <a:ext cx="3600000" cy="41751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bg1"/>
                </a:solidFill>
                <a:latin typeface="+mj-lt"/>
              </a:rPr>
              <a:t>Як </a:t>
            </a:r>
            <a:r>
              <a:rPr lang="ru-RU" sz="2400" dirty="0" err="1">
                <a:solidFill>
                  <a:schemeClr val="bg1"/>
                </a:solidFill>
                <a:latin typeface="+mj-lt"/>
              </a:rPr>
              <a:t>робити</a:t>
            </a:r>
            <a:r>
              <a:rPr lang="ru-RU" sz="2400" dirty="0">
                <a:solidFill>
                  <a:schemeClr val="bg1"/>
                </a:solidFill>
                <a:latin typeface="+mj-lt"/>
              </a:rPr>
              <a:t> </a:t>
            </a:r>
            <a:r>
              <a:rPr lang="ru-RU" sz="2400" dirty="0" err="1">
                <a:solidFill>
                  <a:schemeClr val="bg1"/>
                </a:solidFill>
                <a:latin typeface="+mj-lt"/>
              </a:rPr>
              <a:t>презентацію</a:t>
            </a:r>
            <a:r>
              <a:rPr lang="ru-RU" sz="2400" dirty="0">
                <a:solidFill>
                  <a:schemeClr val="bg1"/>
                </a:solidFill>
                <a:latin typeface="+mj-lt"/>
              </a:rPr>
              <a:t> </a:t>
            </a:r>
            <a:r>
              <a:rPr lang="ru-RU" sz="2400" dirty="0" err="1">
                <a:solidFill>
                  <a:schemeClr val="bg1"/>
                </a:solidFill>
                <a:latin typeface="+mj-lt"/>
              </a:rPr>
              <a:t>зрозумілою</a:t>
            </a:r>
            <a:endParaRPr lang="ru-RU" sz="2400" dirty="0">
              <a:solidFill>
                <a:schemeClr val="bg1"/>
              </a:solidFill>
              <a:latin typeface="+mj-lt"/>
            </a:endParaRPr>
          </a:p>
        </p:txBody>
      </p:sp>
      <p:sp>
        <p:nvSpPr>
          <p:cNvPr id="6" name="Прямокутник: округлені кути 17">
            <a:extLst>
              <a:ext uri="{FF2B5EF4-FFF2-40B4-BE49-F238E27FC236}">
                <a16:creationId xmlns:a16="http://schemas.microsoft.com/office/drawing/2014/main" id="{022C2468-4946-839D-1137-111C3351D7A6}"/>
              </a:ext>
            </a:extLst>
          </p:cNvPr>
          <p:cNvSpPr/>
          <p:nvPr/>
        </p:nvSpPr>
        <p:spPr>
          <a:xfrm>
            <a:off x="5168179" y="1476519"/>
            <a:ext cx="3600000" cy="4175125"/>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bg1"/>
                </a:solidFill>
                <a:latin typeface="+mj-lt"/>
              </a:rPr>
              <a:t>Як </a:t>
            </a:r>
            <a:r>
              <a:rPr lang="ru-RU" sz="2400" dirty="0" err="1">
                <a:solidFill>
                  <a:schemeClr val="bg1"/>
                </a:solidFill>
                <a:latin typeface="+mj-lt"/>
              </a:rPr>
              <a:t>робити</a:t>
            </a:r>
            <a:r>
              <a:rPr lang="ru-RU" sz="2400" dirty="0">
                <a:solidFill>
                  <a:schemeClr val="bg1"/>
                </a:solidFill>
                <a:latin typeface="+mj-lt"/>
              </a:rPr>
              <a:t> </a:t>
            </a:r>
            <a:r>
              <a:rPr lang="ru-RU" sz="2400" dirty="0" err="1">
                <a:solidFill>
                  <a:schemeClr val="bg1"/>
                </a:solidFill>
                <a:latin typeface="+mj-lt"/>
              </a:rPr>
              <a:t>презентацію</a:t>
            </a:r>
            <a:r>
              <a:rPr lang="ru-RU" sz="2400" dirty="0">
                <a:solidFill>
                  <a:schemeClr val="bg1"/>
                </a:solidFill>
                <a:latin typeface="+mj-lt"/>
              </a:rPr>
              <a:t> красивою</a:t>
            </a:r>
          </a:p>
        </p:txBody>
      </p:sp>
      <p:sp>
        <p:nvSpPr>
          <p:cNvPr id="7" name="Овал 6">
            <a:extLst>
              <a:ext uri="{FF2B5EF4-FFF2-40B4-BE49-F238E27FC236}">
                <a16:creationId xmlns:a16="http://schemas.microsoft.com/office/drawing/2014/main" id="{BE3C2C7F-31E6-928D-9EF2-2FB84992D825}"/>
              </a:ext>
            </a:extLst>
          </p:cNvPr>
          <p:cNvSpPr/>
          <p:nvPr/>
        </p:nvSpPr>
        <p:spPr>
          <a:xfrm>
            <a:off x="2344388" y="1206356"/>
            <a:ext cx="540000" cy="5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mj-lt"/>
              </a:rPr>
              <a:t>1</a:t>
            </a:r>
          </a:p>
        </p:txBody>
      </p:sp>
      <p:sp>
        <p:nvSpPr>
          <p:cNvPr id="8" name="Овал 7">
            <a:extLst>
              <a:ext uri="{FF2B5EF4-FFF2-40B4-BE49-F238E27FC236}">
                <a16:creationId xmlns:a16="http://schemas.microsoft.com/office/drawing/2014/main" id="{B883BFF6-7CA0-0836-FA2F-87184D1E9B10}"/>
              </a:ext>
            </a:extLst>
          </p:cNvPr>
          <p:cNvSpPr/>
          <p:nvPr/>
        </p:nvSpPr>
        <p:spPr>
          <a:xfrm>
            <a:off x="6698179" y="1206356"/>
            <a:ext cx="540000" cy="540000"/>
          </a:xfrm>
          <a:prstGeom prst="ellips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mj-lt"/>
              </a:rPr>
              <a:t>2</a:t>
            </a:r>
          </a:p>
        </p:txBody>
      </p:sp>
      <p:sp>
        <p:nvSpPr>
          <p:cNvPr id="12" name="Овал 11">
            <a:extLst>
              <a:ext uri="{FF2B5EF4-FFF2-40B4-BE49-F238E27FC236}">
                <a16:creationId xmlns:a16="http://schemas.microsoft.com/office/drawing/2014/main" id="{133D7109-55B4-4CC6-9FF8-4BAD3B55D1E2}"/>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261116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9D2E8D33-65E7-4227-B9F6-C6325EC727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9D2E8D33-65E7-4227-B9F6-C6325EC72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Прямокутник 26">
            <a:extLst>
              <a:ext uri="{FF2B5EF4-FFF2-40B4-BE49-F238E27FC236}">
                <a16:creationId xmlns:a16="http://schemas.microsoft.com/office/drawing/2014/main" id="{702F340A-AE7A-4D2F-B3EE-B748E76E4535}"/>
              </a:ext>
            </a:extLst>
          </p:cNvPr>
          <p:cNvSpPr/>
          <p:nvPr/>
        </p:nvSpPr>
        <p:spPr>
          <a:xfrm>
            <a:off x="730450" y="-4065319"/>
            <a:ext cx="5040000" cy="721205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uk-UA" sz="2400" b="0" i="0" dirty="0">
                <a:solidFill>
                  <a:srgbClr val="212529"/>
                </a:solidFill>
                <a:effectLst/>
              </a:rPr>
              <a:t>До оптимізації процес складався з шести етапів, кожен з яких був напряму або не напряму пов’язаний з наступним. Перший напряму поєднувався з другим, однак для переходу на третій етап потрібно було залучити додаткових учасників у процес…</a:t>
            </a:r>
            <a:endParaRPr lang="uk-UA" sz="2400" dirty="0"/>
          </a:p>
        </p:txBody>
      </p:sp>
      <p:sp>
        <p:nvSpPr>
          <p:cNvPr id="31" name="Прямокутник 30">
            <a:extLst>
              <a:ext uri="{FF2B5EF4-FFF2-40B4-BE49-F238E27FC236}">
                <a16:creationId xmlns:a16="http://schemas.microsoft.com/office/drawing/2014/main" id="{3D788CEE-9188-4973-87E4-D35265F35C1F}"/>
              </a:ext>
            </a:extLst>
          </p:cNvPr>
          <p:cNvSpPr/>
          <p:nvPr/>
        </p:nvSpPr>
        <p:spPr>
          <a:xfrm>
            <a:off x="6421550" y="-4065319"/>
            <a:ext cx="5040000" cy="7212054"/>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uk-UA" sz="2400" b="0" i="0" dirty="0">
                <a:solidFill>
                  <a:srgbClr val="212529"/>
                </a:solidFill>
                <a:effectLst/>
              </a:rPr>
              <a:t>Після оптимізації процес </a:t>
            </a:r>
            <a:r>
              <a:rPr lang="uk-UA" sz="2400" dirty="0">
                <a:solidFill>
                  <a:srgbClr val="212529"/>
                </a:solidFill>
              </a:rPr>
              <a:t>скоротився до </a:t>
            </a:r>
            <a:r>
              <a:rPr lang="uk-UA" sz="2400" b="0" i="0" dirty="0">
                <a:solidFill>
                  <a:srgbClr val="212529"/>
                </a:solidFill>
                <a:effectLst/>
              </a:rPr>
              <a:t>чотирьох етапів, кожен з яких був напряму пов’язаний з наступним. Перший напряму поєднувався з другим, який, у свою чергу, так само поєднувався з третім етапом процесу…</a:t>
            </a:r>
            <a:endParaRPr lang="uk-UA" sz="2400" dirty="0"/>
          </a:p>
        </p:txBody>
      </p:sp>
      <p:pic>
        <p:nvPicPr>
          <p:cNvPr id="19460" name="Picture 4" descr="PULP FICTION JOHN TRAVOLTA ANIMATED PNG by JokerReality59 on DeviantArt">
            <a:extLst>
              <a:ext uri="{FF2B5EF4-FFF2-40B4-BE49-F238E27FC236}">
                <a16:creationId xmlns:a16="http://schemas.microsoft.com/office/drawing/2014/main" id="{F3336490-FF7C-4700-8CB7-A8F678404A65}"/>
              </a:ext>
            </a:extLst>
          </p:cNvPr>
          <p:cNvPicPr>
            <a:picLocks noChangeAspect="1" noChangeArrowheads="1" noCrop="1"/>
          </p:cNvPicPr>
          <p:nvPr/>
        </p:nvPicPr>
        <p:blipFill>
          <a:blip r:embed="rId5">
            <a:extLst>
              <a:ext uri="{28A0092B-C50C-407E-A947-70E740481C1C}">
                <a14:useLocalDpi xmlns:a14="http://schemas.microsoft.com/office/drawing/2010/main" val="0"/>
              </a:ext>
            </a:extLst>
          </a:blip>
          <a:srcRect/>
          <a:stretch>
            <a:fillRect/>
          </a:stretch>
        </p:blipFill>
        <p:spPr bwMode="auto">
          <a:xfrm>
            <a:off x="4239100" y="3250309"/>
            <a:ext cx="3713800" cy="3607691"/>
          </a:xfrm>
          <a:prstGeom prst="rect">
            <a:avLst/>
          </a:prstGeom>
          <a:noFill/>
          <a:extLst>
            <a:ext uri="{909E8E84-426E-40DD-AFC4-6F175D3DCCD1}">
              <a14:hiddenFill xmlns:a14="http://schemas.microsoft.com/office/drawing/2010/main">
                <a:solidFill>
                  <a:srgbClr val="FFFFFF"/>
                </a:solidFill>
              </a14:hiddenFill>
            </a:ext>
          </a:extLst>
        </p:spPr>
      </p:pic>
      <p:sp>
        <p:nvSpPr>
          <p:cNvPr id="32" name="Бульбашка прямої мови: прямокутна з округленими кутами 31">
            <a:extLst>
              <a:ext uri="{FF2B5EF4-FFF2-40B4-BE49-F238E27FC236}">
                <a16:creationId xmlns:a16="http://schemas.microsoft.com/office/drawing/2014/main" id="{0191D92B-B235-4389-B3C7-19530CCBE5BF}"/>
              </a:ext>
            </a:extLst>
          </p:cNvPr>
          <p:cNvSpPr/>
          <p:nvPr/>
        </p:nvSpPr>
        <p:spPr>
          <a:xfrm>
            <a:off x="7737503" y="3525330"/>
            <a:ext cx="2408094" cy="738444"/>
          </a:xfrm>
          <a:prstGeom prst="wedgeRoundRectCallout">
            <a:avLst>
              <a:gd name="adj1" fmla="val -57664"/>
              <a:gd name="adj2" fmla="val 25061"/>
              <a:gd name="adj3" fmla="val 16667"/>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dirty="0">
                <a:solidFill>
                  <a:schemeClr val="tx1"/>
                </a:solidFill>
                <a:latin typeface="+mj-lt"/>
              </a:rPr>
              <a:t>Так а де стало простіше?</a:t>
            </a:r>
          </a:p>
        </p:txBody>
      </p:sp>
    </p:spTree>
    <p:extLst>
      <p:ext uri="{BB962C8B-B14F-4D97-AF65-F5344CB8AC3E}">
        <p14:creationId xmlns:p14="http://schemas.microsoft.com/office/powerpoint/2010/main" val="20351046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9D2E8D33-65E7-4227-B9F6-C6325EC727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9D2E8D33-65E7-4227-B9F6-C6325EC72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Прямокутник 63">
            <a:extLst>
              <a:ext uri="{FF2B5EF4-FFF2-40B4-BE49-F238E27FC236}">
                <a16:creationId xmlns:a16="http://schemas.microsoft.com/office/drawing/2014/main" id="{5C646066-31CC-4E9E-AF9D-AB44DCBB345D}"/>
              </a:ext>
            </a:extLst>
          </p:cNvPr>
          <p:cNvSpPr/>
          <p:nvPr/>
        </p:nvSpPr>
        <p:spPr>
          <a:xfrm>
            <a:off x="0" y="0"/>
            <a:ext cx="12192000" cy="3429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cxnSp>
        <p:nvCxnSpPr>
          <p:cNvPr id="42" name="Пряма зі стрілкою 41">
            <a:extLst>
              <a:ext uri="{FF2B5EF4-FFF2-40B4-BE49-F238E27FC236}">
                <a16:creationId xmlns:a16="http://schemas.microsoft.com/office/drawing/2014/main" id="{379EA0A3-DA3F-4803-AB64-1F18F75E61A8}"/>
              </a:ext>
            </a:extLst>
          </p:cNvPr>
          <p:cNvCxnSpPr>
            <a:cxnSpLocks/>
          </p:cNvCxnSpPr>
          <p:nvPr/>
        </p:nvCxnSpPr>
        <p:spPr>
          <a:xfrm>
            <a:off x="696300" y="1672264"/>
            <a:ext cx="10574451" cy="0"/>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Овал 24">
            <a:extLst>
              <a:ext uri="{FF2B5EF4-FFF2-40B4-BE49-F238E27FC236}">
                <a16:creationId xmlns:a16="http://schemas.microsoft.com/office/drawing/2014/main" id="{80C039DD-AE73-4273-96EA-DFABC1DC2D14}"/>
              </a:ext>
            </a:extLst>
          </p:cNvPr>
          <p:cNvSpPr/>
          <p:nvPr/>
        </p:nvSpPr>
        <p:spPr>
          <a:xfrm flipH="1">
            <a:off x="6922640" y="4958528"/>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4</a:t>
            </a:r>
          </a:p>
        </p:txBody>
      </p:sp>
      <p:sp>
        <p:nvSpPr>
          <p:cNvPr id="26" name="Овал 25">
            <a:extLst>
              <a:ext uri="{FF2B5EF4-FFF2-40B4-BE49-F238E27FC236}">
                <a16:creationId xmlns:a16="http://schemas.microsoft.com/office/drawing/2014/main" id="{55B72D66-9241-4F2A-8CCD-1A54F16DEF7D}"/>
              </a:ext>
            </a:extLst>
          </p:cNvPr>
          <p:cNvSpPr/>
          <p:nvPr/>
        </p:nvSpPr>
        <p:spPr>
          <a:xfrm flipH="1">
            <a:off x="696300" y="4958528"/>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1</a:t>
            </a:r>
          </a:p>
        </p:txBody>
      </p:sp>
      <p:sp>
        <p:nvSpPr>
          <p:cNvPr id="28" name="Овал 27">
            <a:extLst>
              <a:ext uri="{FF2B5EF4-FFF2-40B4-BE49-F238E27FC236}">
                <a16:creationId xmlns:a16="http://schemas.microsoft.com/office/drawing/2014/main" id="{A1416170-25FC-4790-9B21-900256F02FCF}"/>
              </a:ext>
            </a:extLst>
          </p:cNvPr>
          <p:cNvSpPr/>
          <p:nvPr/>
        </p:nvSpPr>
        <p:spPr>
          <a:xfrm flipH="1">
            <a:off x="2771747" y="4958528"/>
            <a:ext cx="360000" cy="360000"/>
          </a:xfrm>
          <a:prstGeom prst="ellipse">
            <a:avLst/>
          </a:prstGeom>
          <a:solidFill>
            <a:srgbClr val="4CAF50"/>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2</a:t>
            </a:r>
          </a:p>
        </p:txBody>
      </p:sp>
      <p:sp>
        <p:nvSpPr>
          <p:cNvPr id="29" name="Овал 28">
            <a:extLst>
              <a:ext uri="{FF2B5EF4-FFF2-40B4-BE49-F238E27FC236}">
                <a16:creationId xmlns:a16="http://schemas.microsoft.com/office/drawing/2014/main" id="{E4602B37-ADE0-4E95-B583-8C83835AD3A2}"/>
              </a:ext>
            </a:extLst>
          </p:cNvPr>
          <p:cNvSpPr/>
          <p:nvPr/>
        </p:nvSpPr>
        <p:spPr>
          <a:xfrm flipH="1">
            <a:off x="4847194" y="4958528"/>
            <a:ext cx="360000" cy="360000"/>
          </a:xfrm>
          <a:prstGeom prst="ellipse">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solidFill>
                  <a:schemeClr val="bg1"/>
                </a:solidFill>
                <a:latin typeface="+mj-lt"/>
              </a:rPr>
              <a:t>3</a:t>
            </a:r>
          </a:p>
        </p:txBody>
      </p:sp>
      <p:cxnSp>
        <p:nvCxnSpPr>
          <p:cNvPr id="5" name="Пряма зі стрілкою 4">
            <a:extLst>
              <a:ext uri="{FF2B5EF4-FFF2-40B4-BE49-F238E27FC236}">
                <a16:creationId xmlns:a16="http://schemas.microsoft.com/office/drawing/2014/main" id="{F68F530C-9F0C-41B3-B7E3-057B01906D06}"/>
              </a:ext>
            </a:extLst>
          </p:cNvPr>
          <p:cNvCxnSpPr>
            <a:cxnSpLocks/>
            <a:endCxn id="36" idx="2"/>
          </p:cNvCxnSpPr>
          <p:nvPr/>
        </p:nvCxnSpPr>
        <p:spPr>
          <a:xfrm>
            <a:off x="876300" y="1672264"/>
            <a:ext cx="121728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 name="Овал 6">
            <a:extLst>
              <a:ext uri="{FF2B5EF4-FFF2-40B4-BE49-F238E27FC236}">
                <a16:creationId xmlns:a16="http://schemas.microsoft.com/office/drawing/2014/main" id="{2BE376AF-636C-4CF7-B7BC-7B15784162DC}"/>
              </a:ext>
            </a:extLst>
          </p:cNvPr>
          <p:cNvSpPr/>
          <p:nvPr/>
        </p:nvSpPr>
        <p:spPr>
          <a:xfrm>
            <a:off x="696300" y="1492264"/>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1</a:t>
            </a:r>
          </a:p>
        </p:txBody>
      </p:sp>
      <p:sp>
        <p:nvSpPr>
          <p:cNvPr id="36" name="Овал 35">
            <a:extLst>
              <a:ext uri="{FF2B5EF4-FFF2-40B4-BE49-F238E27FC236}">
                <a16:creationId xmlns:a16="http://schemas.microsoft.com/office/drawing/2014/main" id="{ED1E34CD-6AB2-4B3F-8DBC-CD13FE87E983}"/>
              </a:ext>
            </a:extLst>
          </p:cNvPr>
          <p:cNvSpPr/>
          <p:nvPr/>
        </p:nvSpPr>
        <p:spPr>
          <a:xfrm>
            <a:off x="2093586" y="1492264"/>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2</a:t>
            </a:r>
          </a:p>
        </p:txBody>
      </p:sp>
      <p:sp>
        <p:nvSpPr>
          <p:cNvPr id="37" name="Овал 36">
            <a:extLst>
              <a:ext uri="{FF2B5EF4-FFF2-40B4-BE49-F238E27FC236}">
                <a16:creationId xmlns:a16="http://schemas.microsoft.com/office/drawing/2014/main" id="{ADD1385B-0C5E-4633-99CF-E72874FC1321}"/>
              </a:ext>
            </a:extLst>
          </p:cNvPr>
          <p:cNvSpPr/>
          <p:nvPr/>
        </p:nvSpPr>
        <p:spPr>
          <a:xfrm>
            <a:off x="3646930" y="2491077"/>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3</a:t>
            </a:r>
          </a:p>
        </p:txBody>
      </p:sp>
      <p:sp>
        <p:nvSpPr>
          <p:cNvPr id="38" name="Овал 37">
            <a:extLst>
              <a:ext uri="{FF2B5EF4-FFF2-40B4-BE49-F238E27FC236}">
                <a16:creationId xmlns:a16="http://schemas.microsoft.com/office/drawing/2014/main" id="{7A9A3327-921B-40E2-B49A-524D457FE4FF}"/>
              </a:ext>
            </a:extLst>
          </p:cNvPr>
          <p:cNvSpPr/>
          <p:nvPr/>
        </p:nvSpPr>
        <p:spPr>
          <a:xfrm>
            <a:off x="5916000" y="491964"/>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4</a:t>
            </a:r>
          </a:p>
        </p:txBody>
      </p:sp>
      <p:sp>
        <p:nvSpPr>
          <p:cNvPr id="39" name="Овал 38">
            <a:extLst>
              <a:ext uri="{FF2B5EF4-FFF2-40B4-BE49-F238E27FC236}">
                <a16:creationId xmlns:a16="http://schemas.microsoft.com/office/drawing/2014/main" id="{0D0573F7-CDEE-4060-8245-9AF953C4673A}"/>
              </a:ext>
            </a:extLst>
          </p:cNvPr>
          <p:cNvSpPr/>
          <p:nvPr/>
        </p:nvSpPr>
        <p:spPr>
          <a:xfrm>
            <a:off x="4148956" y="1492264"/>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5</a:t>
            </a:r>
          </a:p>
        </p:txBody>
      </p:sp>
      <p:sp>
        <p:nvSpPr>
          <p:cNvPr id="40" name="Овал 39">
            <a:extLst>
              <a:ext uri="{FF2B5EF4-FFF2-40B4-BE49-F238E27FC236}">
                <a16:creationId xmlns:a16="http://schemas.microsoft.com/office/drawing/2014/main" id="{2BD84D23-AB8C-428B-BD05-A43FDF0CB1A6}"/>
              </a:ext>
            </a:extLst>
          </p:cNvPr>
          <p:cNvSpPr/>
          <p:nvPr/>
        </p:nvSpPr>
        <p:spPr>
          <a:xfrm>
            <a:off x="8776187" y="1492264"/>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uk-UA" sz="1600" dirty="0">
                <a:latin typeface="+mj-lt"/>
              </a:rPr>
              <a:t>6</a:t>
            </a:r>
          </a:p>
        </p:txBody>
      </p:sp>
      <p:cxnSp>
        <p:nvCxnSpPr>
          <p:cNvPr id="50" name="Сполучна лінія: уступом 49">
            <a:extLst>
              <a:ext uri="{FF2B5EF4-FFF2-40B4-BE49-F238E27FC236}">
                <a16:creationId xmlns:a16="http://schemas.microsoft.com/office/drawing/2014/main" id="{D0329294-D493-4B3B-9670-C3098A775CE7}"/>
              </a:ext>
            </a:extLst>
          </p:cNvPr>
          <p:cNvCxnSpPr>
            <a:stCxn id="36" idx="4"/>
            <a:endCxn id="37" idx="2"/>
          </p:cNvCxnSpPr>
          <p:nvPr/>
        </p:nvCxnSpPr>
        <p:spPr>
          <a:xfrm rot="16200000" flipH="1">
            <a:off x="2550852" y="1574998"/>
            <a:ext cx="818813" cy="137334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1" name="Сполучна лінія: уступом 50">
            <a:extLst>
              <a:ext uri="{FF2B5EF4-FFF2-40B4-BE49-F238E27FC236}">
                <a16:creationId xmlns:a16="http://schemas.microsoft.com/office/drawing/2014/main" id="{74B6A7BF-C4E8-4069-85C8-6B69AAF3C022}"/>
              </a:ext>
            </a:extLst>
          </p:cNvPr>
          <p:cNvCxnSpPr>
            <a:cxnSpLocks/>
            <a:stCxn id="38" idx="2"/>
            <a:endCxn id="39" idx="0"/>
          </p:cNvCxnSpPr>
          <p:nvPr/>
        </p:nvCxnSpPr>
        <p:spPr>
          <a:xfrm rot="10800000" flipV="1">
            <a:off x="4328956" y="671964"/>
            <a:ext cx="1587044" cy="820300"/>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54" name="Пряма зі стрілкою 53">
            <a:extLst>
              <a:ext uri="{FF2B5EF4-FFF2-40B4-BE49-F238E27FC236}">
                <a16:creationId xmlns:a16="http://schemas.microsoft.com/office/drawing/2014/main" id="{0CFF63F7-3E05-4121-8D57-6051335D44B3}"/>
              </a:ext>
            </a:extLst>
          </p:cNvPr>
          <p:cNvCxnSpPr>
            <a:cxnSpLocks/>
            <a:stCxn id="39" idx="6"/>
            <a:endCxn id="40" idx="2"/>
          </p:cNvCxnSpPr>
          <p:nvPr/>
        </p:nvCxnSpPr>
        <p:spPr>
          <a:xfrm>
            <a:off x="4508956" y="1672264"/>
            <a:ext cx="4267231"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63" name="Овал 62">
            <a:extLst>
              <a:ext uri="{FF2B5EF4-FFF2-40B4-BE49-F238E27FC236}">
                <a16:creationId xmlns:a16="http://schemas.microsoft.com/office/drawing/2014/main" id="{3D1114F1-F6D3-4EF6-957F-16614358FAB8}"/>
              </a:ext>
            </a:extLst>
          </p:cNvPr>
          <p:cNvSpPr/>
          <p:nvPr/>
        </p:nvSpPr>
        <p:spPr>
          <a:xfrm>
            <a:off x="4792036" y="1492264"/>
            <a:ext cx="360000" cy="36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1600" dirty="0">
              <a:latin typeface="+mj-lt"/>
            </a:endParaRPr>
          </a:p>
        </p:txBody>
      </p:sp>
      <p:cxnSp>
        <p:nvCxnSpPr>
          <p:cNvPr id="45" name="Пряма зі стрілкою 44">
            <a:extLst>
              <a:ext uri="{FF2B5EF4-FFF2-40B4-BE49-F238E27FC236}">
                <a16:creationId xmlns:a16="http://schemas.microsoft.com/office/drawing/2014/main" id="{548A4823-1F32-4CAC-82EB-13550919F09A}"/>
              </a:ext>
            </a:extLst>
          </p:cNvPr>
          <p:cNvCxnSpPr>
            <a:cxnSpLocks/>
            <a:stCxn id="37" idx="7"/>
            <a:endCxn id="38" idx="3"/>
          </p:cNvCxnSpPr>
          <p:nvPr/>
        </p:nvCxnSpPr>
        <p:spPr>
          <a:xfrm flipV="1">
            <a:off x="3954209" y="799243"/>
            <a:ext cx="2014512" cy="1744555"/>
          </a:xfrm>
          <a:prstGeom prst="straightConnector1">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65" name="Пряма зі стрілкою 64">
            <a:extLst>
              <a:ext uri="{FF2B5EF4-FFF2-40B4-BE49-F238E27FC236}">
                <a16:creationId xmlns:a16="http://schemas.microsoft.com/office/drawing/2014/main" id="{625F209D-911C-4AFB-90C4-B59A8A8E20A3}"/>
              </a:ext>
            </a:extLst>
          </p:cNvPr>
          <p:cNvCxnSpPr>
            <a:cxnSpLocks/>
            <a:endCxn id="28" idx="6"/>
          </p:cNvCxnSpPr>
          <p:nvPr/>
        </p:nvCxnSpPr>
        <p:spPr>
          <a:xfrm>
            <a:off x="1056300" y="5138528"/>
            <a:ext cx="171544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67" name="Пряма зі стрілкою 66">
            <a:extLst>
              <a:ext uri="{FF2B5EF4-FFF2-40B4-BE49-F238E27FC236}">
                <a16:creationId xmlns:a16="http://schemas.microsoft.com/office/drawing/2014/main" id="{01762966-B065-417C-B078-A44EDCB9CCA6}"/>
              </a:ext>
            </a:extLst>
          </p:cNvPr>
          <p:cNvCxnSpPr>
            <a:cxnSpLocks/>
          </p:cNvCxnSpPr>
          <p:nvPr/>
        </p:nvCxnSpPr>
        <p:spPr>
          <a:xfrm>
            <a:off x="3131747" y="5111896"/>
            <a:ext cx="1715447"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0" name="Пряма зі стрілкою 69">
            <a:extLst>
              <a:ext uri="{FF2B5EF4-FFF2-40B4-BE49-F238E27FC236}">
                <a16:creationId xmlns:a16="http://schemas.microsoft.com/office/drawing/2014/main" id="{13D36D02-7DD4-4352-8B70-2630FF33E54E}"/>
              </a:ext>
            </a:extLst>
          </p:cNvPr>
          <p:cNvCxnSpPr>
            <a:cxnSpLocks/>
          </p:cNvCxnSpPr>
          <p:nvPr/>
        </p:nvCxnSpPr>
        <p:spPr>
          <a:xfrm>
            <a:off x="5207194" y="5138528"/>
            <a:ext cx="171544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4" name="Заголовок 1">
            <a:extLst>
              <a:ext uri="{FF2B5EF4-FFF2-40B4-BE49-F238E27FC236}">
                <a16:creationId xmlns:a16="http://schemas.microsoft.com/office/drawing/2014/main" id="{46ECC649-1EAA-4DBA-AF41-CF764A06103C}"/>
              </a:ext>
            </a:extLst>
          </p:cNvPr>
          <p:cNvSpPr txBox="1">
            <a:spLocks/>
          </p:cNvSpPr>
          <p:nvPr/>
        </p:nvSpPr>
        <p:spPr>
          <a:xfrm>
            <a:off x="985387" y="2814845"/>
            <a:ext cx="11049000" cy="450807"/>
          </a:xfrm>
          <a:prstGeom prst="rect">
            <a:avLst/>
          </a:prstGeom>
        </p:spPr>
        <p:txBody>
          <a:bodyPr vert="horz"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uk-UA" sz="2400" dirty="0">
                <a:solidFill>
                  <a:schemeClr val="accent1"/>
                </a:solidFill>
              </a:rPr>
              <a:t>До оптимізації процесу</a:t>
            </a:r>
          </a:p>
        </p:txBody>
      </p:sp>
      <p:sp>
        <p:nvSpPr>
          <p:cNvPr id="75" name="Заголовок 1">
            <a:extLst>
              <a:ext uri="{FF2B5EF4-FFF2-40B4-BE49-F238E27FC236}">
                <a16:creationId xmlns:a16="http://schemas.microsoft.com/office/drawing/2014/main" id="{58CB293A-24FE-4A64-B576-8BCC3E0DEADA}"/>
              </a:ext>
            </a:extLst>
          </p:cNvPr>
          <p:cNvSpPr txBox="1">
            <a:spLocks/>
          </p:cNvSpPr>
          <p:nvPr/>
        </p:nvSpPr>
        <p:spPr>
          <a:xfrm>
            <a:off x="985387" y="3572900"/>
            <a:ext cx="11049000" cy="450807"/>
          </a:xfrm>
          <a:prstGeom prst="rect">
            <a:avLst/>
          </a:prstGeom>
        </p:spPr>
        <p:txBody>
          <a:bodyPr vert="horz"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uk-UA" sz="2400" dirty="0">
                <a:solidFill>
                  <a:srgbClr val="4CAF50"/>
                </a:solidFill>
              </a:rPr>
              <a:t>Після оптимізації процесу</a:t>
            </a:r>
          </a:p>
        </p:txBody>
      </p:sp>
    </p:spTree>
    <p:extLst>
      <p:ext uri="{BB962C8B-B14F-4D97-AF65-F5344CB8AC3E}">
        <p14:creationId xmlns:p14="http://schemas.microsoft.com/office/powerpoint/2010/main" val="16392944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9D2E8D33-65E7-4227-B9F6-C6325EC727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9D2E8D33-65E7-4227-B9F6-C6325EC727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Прямокутник 63">
            <a:extLst>
              <a:ext uri="{FF2B5EF4-FFF2-40B4-BE49-F238E27FC236}">
                <a16:creationId xmlns:a16="http://schemas.microsoft.com/office/drawing/2014/main" id="{5C646066-31CC-4E9E-AF9D-AB44DCBB345D}"/>
              </a:ext>
            </a:extLst>
          </p:cNvPr>
          <p:cNvSpPr/>
          <p:nvPr/>
        </p:nvSpPr>
        <p:spPr>
          <a:xfrm>
            <a:off x="0" y="0"/>
            <a:ext cx="4851133"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sp>
        <p:nvSpPr>
          <p:cNvPr id="74" name="Заголовок 1">
            <a:extLst>
              <a:ext uri="{FF2B5EF4-FFF2-40B4-BE49-F238E27FC236}">
                <a16:creationId xmlns:a16="http://schemas.microsoft.com/office/drawing/2014/main" id="{46ECC649-1EAA-4DBA-AF41-CF764A06103C}"/>
              </a:ext>
            </a:extLst>
          </p:cNvPr>
          <p:cNvSpPr txBox="1">
            <a:spLocks/>
          </p:cNvSpPr>
          <p:nvPr/>
        </p:nvSpPr>
        <p:spPr>
          <a:xfrm>
            <a:off x="539760" y="513203"/>
            <a:ext cx="3771613" cy="450807"/>
          </a:xfrm>
          <a:prstGeom prst="rect">
            <a:avLst/>
          </a:prstGeom>
        </p:spPr>
        <p:txBody>
          <a:bodyPr vert="horz"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uk-UA" sz="2400" dirty="0">
                <a:solidFill>
                  <a:schemeClr val="accent1"/>
                </a:solidFill>
              </a:rPr>
              <a:t>Не </a:t>
            </a:r>
            <a:r>
              <a:rPr lang="uk-UA" sz="2400" dirty="0" err="1">
                <a:solidFill>
                  <a:schemeClr val="accent1"/>
                </a:solidFill>
              </a:rPr>
              <a:t>ок</a:t>
            </a:r>
            <a:r>
              <a:rPr lang="uk-UA" sz="2400" dirty="0">
                <a:solidFill>
                  <a:schemeClr val="accent1"/>
                </a:solidFill>
              </a:rPr>
              <a:t> </a:t>
            </a:r>
          </a:p>
        </p:txBody>
      </p:sp>
      <p:sp>
        <p:nvSpPr>
          <p:cNvPr id="75" name="Заголовок 1">
            <a:extLst>
              <a:ext uri="{FF2B5EF4-FFF2-40B4-BE49-F238E27FC236}">
                <a16:creationId xmlns:a16="http://schemas.microsoft.com/office/drawing/2014/main" id="{58CB293A-24FE-4A64-B576-8BCC3E0DEADA}"/>
              </a:ext>
            </a:extLst>
          </p:cNvPr>
          <p:cNvSpPr txBox="1">
            <a:spLocks/>
          </p:cNvSpPr>
          <p:nvPr/>
        </p:nvSpPr>
        <p:spPr>
          <a:xfrm>
            <a:off x="5218207" y="513203"/>
            <a:ext cx="6625793" cy="450807"/>
          </a:xfrm>
          <a:prstGeom prst="rect">
            <a:avLst/>
          </a:prstGeom>
        </p:spPr>
        <p:txBody>
          <a:bodyPr vert="horz"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uk-UA" sz="2400" dirty="0">
                <a:solidFill>
                  <a:srgbClr val="4CAF50"/>
                </a:solidFill>
              </a:rPr>
              <a:t>Максимально </a:t>
            </a:r>
            <a:r>
              <a:rPr lang="uk-UA" sz="2400" dirty="0" err="1">
                <a:solidFill>
                  <a:srgbClr val="4CAF50"/>
                </a:solidFill>
              </a:rPr>
              <a:t>ок</a:t>
            </a:r>
            <a:endParaRPr lang="uk-UA" sz="2400" dirty="0">
              <a:solidFill>
                <a:srgbClr val="4CAF50"/>
              </a:solidFill>
            </a:endParaRPr>
          </a:p>
        </p:txBody>
      </p:sp>
      <p:pic>
        <p:nvPicPr>
          <p:cNvPr id="5" name="Рисунок 4">
            <a:extLst>
              <a:ext uri="{FF2B5EF4-FFF2-40B4-BE49-F238E27FC236}">
                <a16:creationId xmlns:a16="http://schemas.microsoft.com/office/drawing/2014/main" id="{59C6D05B-2E58-4D1E-8A3D-862800CD92AA}"/>
              </a:ext>
            </a:extLst>
          </p:cNvPr>
          <p:cNvPicPr>
            <a:picLocks noChangeAspect="1"/>
          </p:cNvPicPr>
          <p:nvPr/>
        </p:nvPicPr>
        <p:blipFill>
          <a:blip r:embed="rId5"/>
          <a:stretch>
            <a:fillRect/>
          </a:stretch>
        </p:blipFill>
        <p:spPr>
          <a:xfrm>
            <a:off x="5218207" y="1894146"/>
            <a:ext cx="6625793" cy="3727008"/>
          </a:xfrm>
          <a:prstGeom prst="rect">
            <a:avLst/>
          </a:prstGeom>
        </p:spPr>
      </p:pic>
      <p:sp>
        <p:nvSpPr>
          <p:cNvPr id="24" name="Прямокутник: округлені кути 23">
            <a:extLst>
              <a:ext uri="{FF2B5EF4-FFF2-40B4-BE49-F238E27FC236}">
                <a16:creationId xmlns:a16="http://schemas.microsoft.com/office/drawing/2014/main" id="{B1510F7E-64F2-4889-A779-2DC76EFB7A77}"/>
              </a:ext>
            </a:extLst>
          </p:cNvPr>
          <p:cNvSpPr/>
          <p:nvPr/>
        </p:nvSpPr>
        <p:spPr>
          <a:xfrm>
            <a:off x="539760" y="2407707"/>
            <a:ext cx="3771613" cy="2699886"/>
          </a:xfrm>
          <a:prstGeom prst="roundRect">
            <a:avLst>
              <a:gd name="adj" fmla="val 1271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ru-RU" sz="1800" b="1" dirty="0">
                <a:solidFill>
                  <a:schemeClr val="tx1"/>
                </a:solidFill>
                <a:latin typeface="+mj-lt"/>
                <a:ea typeface="Roboto Black" panose="02000000000000000000" pitchFamily="2" charset="0"/>
              </a:rPr>
              <a:t>Высота 0,4-1,94 см</a:t>
            </a:r>
          </a:p>
          <a:p>
            <a:pPr marL="285750" indent="-285750">
              <a:spcAft>
                <a:spcPts val="600"/>
              </a:spcAft>
              <a:buFont typeface="Arial" panose="020B0604020202020204" pitchFamily="34" charset="0"/>
              <a:buChar char="•"/>
            </a:pPr>
            <a:r>
              <a:rPr lang="ru-RU" sz="1800" b="1" dirty="0">
                <a:solidFill>
                  <a:schemeClr val="tx1"/>
                </a:solidFill>
                <a:latin typeface="+mj-lt"/>
                <a:ea typeface="Roboto Black" panose="02000000000000000000" pitchFamily="2" charset="0"/>
              </a:rPr>
              <a:t>Ширина 32,5 см</a:t>
            </a:r>
          </a:p>
          <a:p>
            <a:pPr marL="285750" indent="-285750">
              <a:spcAft>
                <a:spcPts val="600"/>
              </a:spcAft>
              <a:buFont typeface="Arial" panose="020B0604020202020204" pitchFamily="34" charset="0"/>
              <a:buChar char="•"/>
            </a:pPr>
            <a:r>
              <a:rPr lang="ru-RU" sz="1800" b="1" dirty="0">
                <a:solidFill>
                  <a:schemeClr val="tx1"/>
                </a:solidFill>
                <a:latin typeface="+mj-lt"/>
                <a:ea typeface="Roboto Black" panose="02000000000000000000" pitchFamily="2" charset="0"/>
              </a:rPr>
              <a:t>Глубина 22,7 см</a:t>
            </a:r>
          </a:p>
          <a:p>
            <a:pPr marL="285750" indent="-285750">
              <a:spcAft>
                <a:spcPts val="600"/>
              </a:spcAft>
              <a:buFont typeface="Arial" panose="020B0604020202020204" pitchFamily="34" charset="0"/>
              <a:buChar char="•"/>
            </a:pPr>
            <a:r>
              <a:rPr lang="ru-RU" sz="1800" b="1" dirty="0">
                <a:solidFill>
                  <a:schemeClr val="tx1"/>
                </a:solidFill>
                <a:latin typeface="+mj-lt"/>
                <a:ea typeface="Roboto Black" panose="02000000000000000000" pitchFamily="2" charset="0"/>
              </a:rPr>
              <a:t>Масса 1,36 кг</a:t>
            </a:r>
            <a:endParaRPr lang="uk-UA" sz="1800" b="1" dirty="0">
              <a:solidFill>
                <a:schemeClr val="tx1"/>
              </a:solidFill>
              <a:latin typeface="+mj-lt"/>
              <a:ea typeface="Roboto Black" panose="02000000000000000000" pitchFamily="2" charset="0"/>
            </a:endParaRPr>
          </a:p>
        </p:txBody>
      </p:sp>
    </p:spTree>
    <p:extLst>
      <p:ext uri="{BB962C8B-B14F-4D97-AF65-F5344CB8AC3E}">
        <p14:creationId xmlns:p14="http://schemas.microsoft.com/office/powerpoint/2010/main" val="42814380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11" name="Прямоугольник 10">
            <a:extLst>
              <a:ext uri="{FF2B5EF4-FFF2-40B4-BE49-F238E27FC236}">
                <a16:creationId xmlns:a16="http://schemas.microsoft.com/office/drawing/2014/main" id="{299CC1EA-3C48-7F27-71A4-D983E3D98A4A}"/>
              </a:ext>
            </a:extLst>
          </p:cNvPr>
          <p:cNvSpPr/>
          <p:nvPr/>
        </p:nvSpPr>
        <p:spPr>
          <a:xfrm>
            <a:off x="0" y="0"/>
            <a:ext cx="12192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UA"/>
          </a:p>
        </p:txBody>
      </p:sp>
      <p:sp>
        <p:nvSpPr>
          <p:cNvPr id="3" name="Прямокутник: округлені кути 17">
            <a:extLst>
              <a:ext uri="{FF2B5EF4-FFF2-40B4-BE49-F238E27FC236}">
                <a16:creationId xmlns:a16="http://schemas.microsoft.com/office/drawing/2014/main" id="{DA907573-8669-2953-0575-9AB117F7477A}"/>
              </a:ext>
            </a:extLst>
          </p:cNvPr>
          <p:cNvSpPr/>
          <p:nvPr/>
        </p:nvSpPr>
        <p:spPr>
          <a:xfrm>
            <a:off x="814388" y="1476519"/>
            <a:ext cx="3600000" cy="4175125"/>
          </a:xfrm>
          <a:prstGeom prst="round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bg1"/>
                </a:solidFill>
                <a:latin typeface="+mj-lt"/>
              </a:rPr>
              <a:t>Як </a:t>
            </a:r>
            <a:r>
              <a:rPr lang="ru-RU" sz="2400" dirty="0" err="1">
                <a:solidFill>
                  <a:schemeClr val="bg1"/>
                </a:solidFill>
                <a:latin typeface="+mj-lt"/>
              </a:rPr>
              <a:t>робити</a:t>
            </a:r>
            <a:r>
              <a:rPr lang="ru-RU" sz="2400" dirty="0">
                <a:solidFill>
                  <a:schemeClr val="bg1"/>
                </a:solidFill>
                <a:latin typeface="+mj-lt"/>
              </a:rPr>
              <a:t> </a:t>
            </a:r>
            <a:r>
              <a:rPr lang="ru-RU" sz="2400" dirty="0" err="1">
                <a:solidFill>
                  <a:schemeClr val="bg1"/>
                </a:solidFill>
                <a:latin typeface="+mj-lt"/>
              </a:rPr>
              <a:t>презентацію</a:t>
            </a:r>
            <a:r>
              <a:rPr lang="ru-RU" sz="2400" dirty="0">
                <a:solidFill>
                  <a:schemeClr val="bg1"/>
                </a:solidFill>
                <a:latin typeface="+mj-lt"/>
              </a:rPr>
              <a:t> </a:t>
            </a:r>
            <a:r>
              <a:rPr lang="ru-RU" sz="2400" dirty="0" err="1">
                <a:solidFill>
                  <a:schemeClr val="bg1"/>
                </a:solidFill>
                <a:latin typeface="+mj-lt"/>
              </a:rPr>
              <a:t>зрозумілою</a:t>
            </a:r>
            <a:endParaRPr lang="ru-RU" sz="2400" dirty="0">
              <a:solidFill>
                <a:schemeClr val="bg1"/>
              </a:solidFill>
              <a:latin typeface="+mj-lt"/>
            </a:endParaRPr>
          </a:p>
        </p:txBody>
      </p:sp>
      <p:sp>
        <p:nvSpPr>
          <p:cNvPr id="6" name="Прямокутник: округлені кути 17">
            <a:extLst>
              <a:ext uri="{FF2B5EF4-FFF2-40B4-BE49-F238E27FC236}">
                <a16:creationId xmlns:a16="http://schemas.microsoft.com/office/drawing/2014/main" id="{022C2468-4946-839D-1137-111C3351D7A6}"/>
              </a:ext>
            </a:extLst>
          </p:cNvPr>
          <p:cNvSpPr/>
          <p:nvPr/>
        </p:nvSpPr>
        <p:spPr>
          <a:xfrm>
            <a:off x="5168179" y="1476519"/>
            <a:ext cx="3600000" cy="41751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a:solidFill>
                  <a:schemeClr val="bg1"/>
                </a:solidFill>
                <a:latin typeface="+mj-lt"/>
              </a:rPr>
              <a:t>Як робити презентацію</a:t>
            </a:r>
            <a:r>
              <a:rPr lang="ru-RU" sz="2400" dirty="0">
                <a:solidFill>
                  <a:schemeClr val="bg1"/>
                </a:solidFill>
                <a:latin typeface="+mj-lt"/>
              </a:rPr>
              <a:t> красивою</a:t>
            </a:r>
          </a:p>
        </p:txBody>
      </p:sp>
      <p:sp>
        <p:nvSpPr>
          <p:cNvPr id="7" name="Овал 6">
            <a:extLst>
              <a:ext uri="{FF2B5EF4-FFF2-40B4-BE49-F238E27FC236}">
                <a16:creationId xmlns:a16="http://schemas.microsoft.com/office/drawing/2014/main" id="{BE3C2C7F-31E6-928D-9EF2-2FB84992D825}"/>
              </a:ext>
            </a:extLst>
          </p:cNvPr>
          <p:cNvSpPr/>
          <p:nvPr/>
        </p:nvSpPr>
        <p:spPr>
          <a:xfrm>
            <a:off x="2344388" y="1206356"/>
            <a:ext cx="540000" cy="540000"/>
          </a:xfrm>
          <a:prstGeom prst="ellipse">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mj-lt"/>
              </a:rPr>
              <a:t>1</a:t>
            </a:r>
          </a:p>
        </p:txBody>
      </p:sp>
      <p:sp>
        <p:nvSpPr>
          <p:cNvPr id="8" name="Овал 7">
            <a:extLst>
              <a:ext uri="{FF2B5EF4-FFF2-40B4-BE49-F238E27FC236}">
                <a16:creationId xmlns:a16="http://schemas.microsoft.com/office/drawing/2014/main" id="{B883BFF6-7CA0-0836-FA2F-87184D1E9B10}"/>
              </a:ext>
            </a:extLst>
          </p:cNvPr>
          <p:cNvSpPr/>
          <p:nvPr/>
        </p:nvSpPr>
        <p:spPr>
          <a:xfrm>
            <a:off x="6698179" y="1206356"/>
            <a:ext cx="540000" cy="54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latin typeface="+mj-lt"/>
              </a:rPr>
              <a:t>2</a:t>
            </a:r>
          </a:p>
        </p:txBody>
      </p:sp>
      <p:sp>
        <p:nvSpPr>
          <p:cNvPr id="2" name="Овал 1">
            <a:extLst>
              <a:ext uri="{FF2B5EF4-FFF2-40B4-BE49-F238E27FC236}">
                <a16:creationId xmlns:a16="http://schemas.microsoft.com/office/drawing/2014/main" id="{322EEC9C-01BF-F76C-931B-25EF15D40C86}"/>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84690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err="1">
                <a:solidFill>
                  <a:schemeClr val="accent1"/>
                </a:solidFill>
              </a:rPr>
              <a:t>Після</a:t>
            </a:r>
            <a:r>
              <a:rPr lang="ru-RU" dirty="0">
                <a:solidFill>
                  <a:schemeClr val="accent1"/>
                </a:solidFill>
              </a:rPr>
              <a:t> </a:t>
            </a:r>
            <a:r>
              <a:rPr lang="ru-RU" dirty="0" err="1">
                <a:solidFill>
                  <a:schemeClr val="accent1"/>
                </a:solidFill>
              </a:rPr>
              <a:t>сторілайну</a:t>
            </a:r>
            <a:r>
              <a:rPr lang="ru-RU" dirty="0">
                <a:solidFill>
                  <a:schemeClr val="accent1"/>
                </a:solidFill>
              </a:rPr>
              <a:t>, </a:t>
            </a:r>
            <a:r>
              <a:rPr lang="ru-RU" dirty="0" err="1">
                <a:solidFill>
                  <a:schemeClr val="accent1"/>
                </a:solidFill>
              </a:rPr>
              <a:t>сторіборду</a:t>
            </a:r>
            <a:r>
              <a:rPr lang="ru-RU" dirty="0">
                <a:solidFill>
                  <a:schemeClr val="accent1"/>
                </a:solidFill>
              </a:rPr>
              <a:t> і готового контенту </a:t>
            </a:r>
            <a:r>
              <a:rPr lang="ru-RU" dirty="0" err="1">
                <a:solidFill>
                  <a:schemeClr val="accent1"/>
                </a:solidFill>
              </a:rPr>
              <a:t>можна</a:t>
            </a:r>
            <a:r>
              <a:rPr lang="ru-RU" dirty="0">
                <a:solidFill>
                  <a:schemeClr val="accent1"/>
                </a:solidFill>
              </a:rPr>
              <a:t> </a:t>
            </a:r>
            <a:r>
              <a:rPr lang="ru-RU" dirty="0" err="1">
                <a:solidFill>
                  <a:schemeClr val="accent1"/>
                </a:solidFill>
              </a:rPr>
              <a:t>переходити</a:t>
            </a:r>
            <a:r>
              <a:rPr lang="ru-RU" dirty="0">
                <a:solidFill>
                  <a:schemeClr val="accent1"/>
                </a:solidFill>
              </a:rPr>
              <a:t> до </a:t>
            </a:r>
            <a:r>
              <a:rPr lang="ru-RU" dirty="0">
                <a:solidFill>
                  <a:schemeClr val="accent5"/>
                </a:solidFill>
              </a:rPr>
              <a:t>дизайну </a:t>
            </a:r>
            <a:r>
              <a:rPr lang="ru-RU" dirty="0" err="1">
                <a:solidFill>
                  <a:schemeClr val="accent5"/>
                </a:solidFill>
              </a:rPr>
              <a:t>презентації</a:t>
            </a:r>
            <a:endParaRPr lang="ru-RU" dirty="0">
              <a:solidFill>
                <a:schemeClr val="accent5"/>
              </a:solidFill>
            </a:endParaRPr>
          </a:p>
        </p:txBody>
      </p:sp>
      <p:sp>
        <p:nvSpPr>
          <p:cNvPr id="3" name="Прямокутник: округлені кути 17">
            <a:extLst>
              <a:ext uri="{FF2B5EF4-FFF2-40B4-BE49-F238E27FC236}">
                <a16:creationId xmlns:a16="http://schemas.microsoft.com/office/drawing/2014/main" id="{F76560CB-F651-FBCF-87DF-82E27C3A2C53}"/>
              </a:ext>
            </a:extLst>
          </p:cNvPr>
          <p:cNvSpPr/>
          <p:nvPr/>
        </p:nvSpPr>
        <p:spPr>
          <a:xfrm>
            <a:off x="983117" y="2459638"/>
            <a:ext cx="1980000" cy="13552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bg1"/>
                </a:solidFill>
                <a:latin typeface="+mj-lt"/>
              </a:rPr>
              <a:t>Для чого?</a:t>
            </a:r>
          </a:p>
        </p:txBody>
      </p:sp>
      <p:sp>
        <p:nvSpPr>
          <p:cNvPr id="8" name="Прямокутник: округлені кути 19">
            <a:extLst>
              <a:ext uri="{FF2B5EF4-FFF2-40B4-BE49-F238E27FC236}">
                <a16:creationId xmlns:a16="http://schemas.microsoft.com/office/drawing/2014/main" id="{80AAC6C9-8CEE-1B1E-9C7D-71DC0F527165}"/>
              </a:ext>
            </a:extLst>
          </p:cNvPr>
          <p:cNvSpPr/>
          <p:nvPr/>
        </p:nvSpPr>
        <p:spPr>
          <a:xfrm>
            <a:off x="3044672" y="2459638"/>
            <a:ext cx="1980000" cy="13552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bg1"/>
                </a:solidFill>
                <a:latin typeface="+mj-lt"/>
              </a:rPr>
              <a:t>Як будете використовувати</a:t>
            </a:r>
          </a:p>
        </p:txBody>
      </p:sp>
      <p:sp>
        <p:nvSpPr>
          <p:cNvPr id="11" name="Прямокутник: округлені кути 20">
            <a:extLst>
              <a:ext uri="{FF2B5EF4-FFF2-40B4-BE49-F238E27FC236}">
                <a16:creationId xmlns:a16="http://schemas.microsoft.com/office/drawing/2014/main" id="{C15E78D5-2FF1-FC8E-5DCD-C0615FA4ACE6}"/>
              </a:ext>
            </a:extLst>
          </p:cNvPr>
          <p:cNvSpPr/>
          <p:nvPr/>
        </p:nvSpPr>
        <p:spPr>
          <a:xfrm>
            <a:off x="5106227" y="2459638"/>
            <a:ext cx="1980000" cy="13552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bg1"/>
                </a:solidFill>
                <a:latin typeface="+mj-lt"/>
              </a:rPr>
              <a:t>Структура (презентації + слайдів)</a:t>
            </a:r>
          </a:p>
        </p:txBody>
      </p:sp>
      <p:sp>
        <p:nvSpPr>
          <p:cNvPr id="14" name="Прямокутник: округлені кути 21">
            <a:extLst>
              <a:ext uri="{FF2B5EF4-FFF2-40B4-BE49-F238E27FC236}">
                <a16:creationId xmlns:a16="http://schemas.microsoft.com/office/drawing/2014/main" id="{9006F218-CA9B-42F2-3510-CB9C0AEAFA3B}"/>
              </a:ext>
            </a:extLst>
          </p:cNvPr>
          <p:cNvSpPr/>
          <p:nvPr/>
        </p:nvSpPr>
        <p:spPr>
          <a:xfrm>
            <a:off x="7167782" y="2459638"/>
            <a:ext cx="1980000" cy="135526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bg1"/>
                </a:solidFill>
                <a:latin typeface="+mj-lt"/>
              </a:rPr>
              <a:t>Контент </a:t>
            </a:r>
          </a:p>
        </p:txBody>
      </p:sp>
      <p:sp>
        <p:nvSpPr>
          <p:cNvPr id="17" name="Прямокутник: округлені кути 22">
            <a:extLst>
              <a:ext uri="{FF2B5EF4-FFF2-40B4-BE49-F238E27FC236}">
                <a16:creationId xmlns:a16="http://schemas.microsoft.com/office/drawing/2014/main" id="{E1E82DFE-93AD-A113-20CE-3546525DA9CD}"/>
              </a:ext>
            </a:extLst>
          </p:cNvPr>
          <p:cNvSpPr/>
          <p:nvPr/>
        </p:nvSpPr>
        <p:spPr>
          <a:xfrm>
            <a:off x="9229338" y="2459638"/>
            <a:ext cx="1980000" cy="13552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tx1"/>
                </a:solidFill>
                <a:latin typeface="+mj-lt"/>
              </a:rPr>
              <a:t>Дизайн </a:t>
            </a:r>
          </a:p>
        </p:txBody>
      </p:sp>
      <p:sp>
        <p:nvSpPr>
          <p:cNvPr id="18" name="Овал 17">
            <a:extLst>
              <a:ext uri="{FF2B5EF4-FFF2-40B4-BE49-F238E27FC236}">
                <a16:creationId xmlns:a16="http://schemas.microsoft.com/office/drawing/2014/main" id="{F8B21BA0-0608-F170-222F-B994E253DB18}"/>
              </a:ext>
            </a:extLst>
          </p:cNvPr>
          <p:cNvSpPr/>
          <p:nvPr/>
        </p:nvSpPr>
        <p:spPr>
          <a:xfrm>
            <a:off x="10039338" y="2279638"/>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5</a:t>
            </a:r>
          </a:p>
        </p:txBody>
      </p:sp>
      <p:pic>
        <p:nvPicPr>
          <p:cNvPr id="1026" name="Picture 2" descr="Check Mark Button on Apple iOS 15.4">
            <a:extLst>
              <a:ext uri="{FF2B5EF4-FFF2-40B4-BE49-F238E27FC236}">
                <a16:creationId xmlns:a16="http://schemas.microsoft.com/office/drawing/2014/main" id="{0DE923C2-FAF4-C6A4-2451-7AB65A765A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3117" y="227963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heck Mark Button on Apple iOS 15.4">
            <a:extLst>
              <a:ext uri="{FF2B5EF4-FFF2-40B4-BE49-F238E27FC236}">
                <a16:creationId xmlns:a16="http://schemas.microsoft.com/office/drawing/2014/main" id="{25D71FAB-6297-BC2F-FB72-FD56A2ADBF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54672" y="227963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Check Mark Button on Apple iOS 15.4">
            <a:extLst>
              <a:ext uri="{FF2B5EF4-FFF2-40B4-BE49-F238E27FC236}">
                <a16:creationId xmlns:a16="http://schemas.microsoft.com/office/drawing/2014/main" id="{40BF7884-2DA6-F109-4E08-F9E15F4AE4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6227" y="2279638"/>
            <a:ext cx="360000" cy="360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Check Mark Button on Apple iOS 15.4">
            <a:extLst>
              <a:ext uri="{FF2B5EF4-FFF2-40B4-BE49-F238E27FC236}">
                <a16:creationId xmlns:a16="http://schemas.microsoft.com/office/drawing/2014/main" id="{0BEC0EE6-FAD8-E924-D06C-5A4ED3EEB8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77782" y="2279638"/>
            <a:ext cx="360000" cy="36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6604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54B64-4457-450E-87F9-A52B139EA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1C554B64-4457-450E-87F9-A52B139EA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Прямокутник 13">
            <a:extLst>
              <a:ext uri="{FF2B5EF4-FFF2-40B4-BE49-F238E27FC236}">
                <a16:creationId xmlns:a16="http://schemas.microsoft.com/office/drawing/2014/main" id="{A14FE9C0-B3BB-4470-824A-5C18DF861D38}"/>
              </a:ext>
            </a:extLst>
          </p:cNvPr>
          <p:cNvSpPr/>
          <p:nvPr/>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sp>
        <p:nvSpPr>
          <p:cNvPr id="2" name="Текст 1">
            <a:extLst>
              <a:ext uri="{FF2B5EF4-FFF2-40B4-BE49-F238E27FC236}">
                <a16:creationId xmlns:a16="http://schemas.microsoft.com/office/drawing/2014/main" id="{B98A5077-16B2-5216-7BF4-892A3FC6E796}"/>
              </a:ext>
            </a:extLst>
          </p:cNvPr>
          <p:cNvSpPr>
            <a:spLocks noGrp="1"/>
          </p:cNvSpPr>
          <p:nvPr>
            <p:ph type="body" sz="quarter" idx="10"/>
          </p:nvPr>
        </p:nvSpPr>
        <p:spPr/>
        <p:txBody>
          <a:bodyPr/>
          <a:lstStyle/>
          <a:p>
            <a:r>
              <a:rPr lang="ru-RU" dirty="0" err="1">
                <a:solidFill>
                  <a:schemeClr val="bg1"/>
                </a:solidFill>
              </a:rPr>
              <a:t>Які</a:t>
            </a:r>
            <a:r>
              <a:rPr lang="ru-RU" dirty="0">
                <a:solidFill>
                  <a:schemeClr val="bg1"/>
                </a:solidFill>
              </a:rPr>
              <a:t> </a:t>
            </a:r>
            <a:r>
              <a:rPr lang="ru-RU" dirty="0" err="1">
                <a:solidFill>
                  <a:schemeClr val="bg1"/>
                </a:solidFill>
              </a:rPr>
              <a:t>слайди</a:t>
            </a:r>
            <a:r>
              <a:rPr lang="ru-RU" dirty="0">
                <a:solidFill>
                  <a:schemeClr val="bg1"/>
                </a:solidFill>
              </a:rPr>
              <a:t> </a:t>
            </a:r>
            <a:r>
              <a:rPr lang="ru-RU" dirty="0" err="1">
                <a:solidFill>
                  <a:schemeClr val="bg1"/>
                </a:solidFill>
              </a:rPr>
              <a:t>робити</a:t>
            </a:r>
            <a:r>
              <a:rPr lang="ru-RU" dirty="0">
                <a:solidFill>
                  <a:schemeClr val="bg1"/>
                </a:solidFill>
              </a:rPr>
              <a:t> не </a:t>
            </a:r>
            <a:r>
              <a:rPr lang="ru-RU" dirty="0" err="1">
                <a:solidFill>
                  <a:schemeClr val="bg1"/>
                </a:solidFill>
              </a:rPr>
              <a:t>потрібно</a:t>
            </a:r>
            <a:r>
              <a:rPr lang="ru-RU" dirty="0">
                <a:solidFill>
                  <a:schemeClr val="bg1"/>
                </a:solidFill>
              </a:rPr>
              <a:t>?</a:t>
            </a:r>
          </a:p>
        </p:txBody>
      </p:sp>
      <p:pic>
        <p:nvPicPr>
          <p:cNvPr id="4" name="Рисунок 3" descr="Изображение выглядит как человек, рука, темный&#10;&#10;Автоматически созданное описание">
            <a:extLst>
              <a:ext uri="{FF2B5EF4-FFF2-40B4-BE49-F238E27FC236}">
                <a16:creationId xmlns:a16="http://schemas.microsoft.com/office/drawing/2014/main" id="{3AE2328E-6DFF-62E1-016B-39C6FB1FD1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flipV="1">
            <a:off x="-1399316" y="2468693"/>
            <a:ext cx="5401160" cy="5401160"/>
          </a:xfrm>
          <a:prstGeom prst="rect">
            <a:avLst/>
          </a:prstGeom>
        </p:spPr>
      </p:pic>
      <p:sp>
        <p:nvSpPr>
          <p:cNvPr id="5" name="Овал 4">
            <a:extLst>
              <a:ext uri="{FF2B5EF4-FFF2-40B4-BE49-F238E27FC236}">
                <a16:creationId xmlns:a16="http://schemas.microsoft.com/office/drawing/2014/main" id="{601B9A5A-FF46-9A85-E150-79C4B28E8C0E}"/>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4324170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номера слайда 1">
            <a:extLst>
              <a:ext uri="{FF2B5EF4-FFF2-40B4-BE49-F238E27FC236}">
                <a16:creationId xmlns:a16="http://schemas.microsoft.com/office/drawing/2014/main" id="{718DF4CD-E497-426A-B26C-5D51749D89E5}"/>
              </a:ext>
            </a:extLst>
          </p:cNvPr>
          <p:cNvSpPr>
            <a:spLocks noGrp="1"/>
          </p:cNvSpPr>
          <p:nvPr>
            <p:ph type="sldNum" sz="quarter" idx="12"/>
          </p:nvPr>
        </p:nvSpPr>
        <p:spPr>
          <a:xfrm>
            <a:off x="8567058" y="6472462"/>
            <a:ext cx="2743200" cy="365125"/>
          </a:xfrm>
          <a:prstGeom prst="rect">
            <a:avLst/>
          </a:prstGeom>
        </p:spPr>
        <p:txBody>
          <a:bodyPr vert="horz" lIns="91440" tIns="45720" rIns="91440" bIns="45720" rtlCol="0" anchor="ctr"/>
          <a:lstStyle>
            <a:defPPr>
              <a:defRPr lang="uk-UA"/>
            </a:defPPr>
            <a:lvl1pPr marL="0" algn="r" defTabSz="914400" rtl="0" eaLnBrk="1" latinLnBrk="0" hangingPunct="1">
              <a:defRPr sz="900"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39F462-C6E8-4AAE-AF5F-DC1402DBFCB2}" type="slidenum">
              <a:rPr lang="uk-UA" smtClean="0"/>
              <a:pPr/>
              <a:t>36</a:t>
            </a:fld>
            <a:endParaRPr lang="uk-UA" dirty="0"/>
          </a:p>
        </p:txBody>
      </p:sp>
      <p:pic>
        <p:nvPicPr>
          <p:cNvPr id="3" name="Рисунок 2">
            <a:extLst>
              <a:ext uri="{FF2B5EF4-FFF2-40B4-BE49-F238E27FC236}">
                <a16:creationId xmlns:a16="http://schemas.microsoft.com/office/drawing/2014/main" id="{7100807B-D956-4C1E-9BD1-6582DF388E55}"/>
              </a:ext>
            </a:extLst>
          </p:cNvPr>
          <p:cNvPicPr>
            <a:picLocks noChangeAspect="1"/>
          </p:cNvPicPr>
          <p:nvPr/>
        </p:nvPicPr>
        <p:blipFill>
          <a:blip r:embed="rId2"/>
          <a:stretch>
            <a:fillRect/>
          </a:stretch>
        </p:blipFill>
        <p:spPr>
          <a:xfrm>
            <a:off x="0" y="1390"/>
            <a:ext cx="12192000" cy="6855220"/>
          </a:xfrm>
          <a:prstGeom prst="rect">
            <a:avLst/>
          </a:prstGeom>
        </p:spPr>
      </p:pic>
    </p:spTree>
    <p:extLst>
      <p:ext uri="{BB962C8B-B14F-4D97-AF65-F5344CB8AC3E}">
        <p14:creationId xmlns:p14="http://schemas.microsoft.com/office/powerpoint/2010/main" val="34073866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номера слайда 1">
            <a:extLst>
              <a:ext uri="{FF2B5EF4-FFF2-40B4-BE49-F238E27FC236}">
                <a16:creationId xmlns:a16="http://schemas.microsoft.com/office/drawing/2014/main" id="{2E75CC45-6DE4-4BB8-A9FD-CD74C579AC5D}"/>
              </a:ext>
            </a:extLst>
          </p:cNvPr>
          <p:cNvSpPr>
            <a:spLocks noGrp="1"/>
          </p:cNvSpPr>
          <p:nvPr>
            <p:ph type="sldNum" sz="quarter" idx="12"/>
          </p:nvPr>
        </p:nvSpPr>
        <p:spPr>
          <a:xfrm>
            <a:off x="8567058" y="6472462"/>
            <a:ext cx="2743200" cy="365125"/>
          </a:xfrm>
          <a:prstGeom prst="rect">
            <a:avLst/>
          </a:prstGeom>
        </p:spPr>
        <p:txBody>
          <a:bodyPr vert="horz" lIns="91440" tIns="45720" rIns="91440" bIns="45720" rtlCol="0" anchor="ctr"/>
          <a:lstStyle>
            <a:defPPr>
              <a:defRPr lang="uk-UA"/>
            </a:defPPr>
            <a:lvl1pPr marL="0" algn="r" defTabSz="914400" rtl="0" eaLnBrk="1" latinLnBrk="0" hangingPunct="1">
              <a:defRPr sz="900"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39F462-C6E8-4AAE-AF5F-DC1402DBFCB2}" type="slidenum">
              <a:rPr lang="uk-UA" smtClean="0"/>
              <a:pPr/>
              <a:t>37</a:t>
            </a:fld>
            <a:endParaRPr lang="uk-UA" dirty="0"/>
          </a:p>
        </p:txBody>
      </p:sp>
      <p:pic>
        <p:nvPicPr>
          <p:cNvPr id="3" name="Рисунок 2">
            <a:extLst>
              <a:ext uri="{FF2B5EF4-FFF2-40B4-BE49-F238E27FC236}">
                <a16:creationId xmlns:a16="http://schemas.microsoft.com/office/drawing/2014/main" id="{72432CBF-AA96-4CFF-A20C-09C7869C3682}"/>
              </a:ext>
            </a:extLst>
          </p:cNvPr>
          <p:cNvPicPr>
            <a:picLocks noChangeAspect="1"/>
          </p:cNvPicPr>
          <p:nvPr/>
        </p:nvPicPr>
        <p:blipFill>
          <a:blip r:embed="rId2"/>
          <a:stretch>
            <a:fillRect/>
          </a:stretch>
        </p:blipFill>
        <p:spPr>
          <a:xfrm>
            <a:off x="0" y="1390"/>
            <a:ext cx="12192000" cy="6855220"/>
          </a:xfrm>
          <a:prstGeom prst="rect">
            <a:avLst/>
          </a:prstGeom>
        </p:spPr>
      </p:pic>
    </p:spTree>
    <p:extLst>
      <p:ext uri="{BB962C8B-B14F-4D97-AF65-F5344CB8AC3E}">
        <p14:creationId xmlns:p14="http://schemas.microsoft.com/office/powerpoint/2010/main" val="22487222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номера слайда 1">
            <a:extLst>
              <a:ext uri="{FF2B5EF4-FFF2-40B4-BE49-F238E27FC236}">
                <a16:creationId xmlns:a16="http://schemas.microsoft.com/office/drawing/2014/main" id="{7750006A-8DF3-42DC-8A8B-17EC936769E8}"/>
              </a:ext>
            </a:extLst>
          </p:cNvPr>
          <p:cNvSpPr>
            <a:spLocks noGrp="1"/>
          </p:cNvSpPr>
          <p:nvPr>
            <p:ph type="sldNum" sz="quarter" idx="12"/>
          </p:nvPr>
        </p:nvSpPr>
        <p:spPr>
          <a:xfrm>
            <a:off x="8567058" y="6472462"/>
            <a:ext cx="2743200" cy="365125"/>
          </a:xfrm>
          <a:prstGeom prst="rect">
            <a:avLst/>
          </a:prstGeom>
        </p:spPr>
        <p:txBody>
          <a:bodyPr vert="horz" lIns="91440" tIns="45720" rIns="91440" bIns="45720" rtlCol="0" anchor="ctr"/>
          <a:lstStyle>
            <a:defPPr>
              <a:defRPr lang="uk-UA"/>
            </a:defPPr>
            <a:lvl1pPr marL="0" algn="r" defTabSz="914400" rtl="0" eaLnBrk="1" latinLnBrk="0" hangingPunct="1">
              <a:defRPr sz="900"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39F462-C6E8-4AAE-AF5F-DC1402DBFCB2}" type="slidenum">
              <a:rPr lang="uk-UA" smtClean="0"/>
              <a:pPr/>
              <a:t>38</a:t>
            </a:fld>
            <a:endParaRPr lang="uk-UA" dirty="0"/>
          </a:p>
        </p:txBody>
      </p:sp>
      <p:pic>
        <p:nvPicPr>
          <p:cNvPr id="3" name="Рисунок 2">
            <a:extLst>
              <a:ext uri="{FF2B5EF4-FFF2-40B4-BE49-F238E27FC236}">
                <a16:creationId xmlns:a16="http://schemas.microsoft.com/office/drawing/2014/main" id="{FD9A3CF4-7F26-434A-9992-300A37CDC5AE}"/>
              </a:ext>
            </a:extLst>
          </p:cNvPr>
          <p:cNvPicPr>
            <a:picLocks noChangeAspect="1"/>
          </p:cNvPicPr>
          <p:nvPr/>
        </p:nvPicPr>
        <p:blipFill>
          <a:blip r:embed="rId2"/>
          <a:stretch>
            <a:fillRect/>
          </a:stretch>
        </p:blipFill>
        <p:spPr>
          <a:xfrm>
            <a:off x="0" y="23626"/>
            <a:ext cx="12192000" cy="6810747"/>
          </a:xfrm>
          <a:prstGeom prst="rect">
            <a:avLst/>
          </a:prstGeom>
        </p:spPr>
      </p:pic>
    </p:spTree>
    <p:extLst>
      <p:ext uri="{BB962C8B-B14F-4D97-AF65-F5344CB8AC3E}">
        <p14:creationId xmlns:p14="http://schemas.microsoft.com/office/powerpoint/2010/main" val="12709754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номера слайда 1">
            <a:extLst>
              <a:ext uri="{FF2B5EF4-FFF2-40B4-BE49-F238E27FC236}">
                <a16:creationId xmlns:a16="http://schemas.microsoft.com/office/drawing/2014/main" id="{5EC4FF56-83F8-4FCC-B829-7DE52AE89D7C}"/>
              </a:ext>
            </a:extLst>
          </p:cNvPr>
          <p:cNvSpPr>
            <a:spLocks noGrp="1"/>
          </p:cNvSpPr>
          <p:nvPr>
            <p:ph type="sldNum" sz="quarter" idx="12"/>
          </p:nvPr>
        </p:nvSpPr>
        <p:spPr>
          <a:xfrm>
            <a:off x="8567058" y="6472462"/>
            <a:ext cx="2743200" cy="365125"/>
          </a:xfrm>
          <a:prstGeom prst="rect">
            <a:avLst/>
          </a:prstGeom>
        </p:spPr>
        <p:txBody>
          <a:bodyPr vert="horz" lIns="91440" tIns="45720" rIns="91440" bIns="45720" rtlCol="0" anchor="ctr"/>
          <a:lstStyle>
            <a:defPPr>
              <a:defRPr lang="uk-UA"/>
            </a:defPPr>
            <a:lvl1pPr marL="0" algn="r" defTabSz="914400" rtl="0" eaLnBrk="1" latinLnBrk="0" hangingPunct="1">
              <a:defRPr sz="900"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39F462-C6E8-4AAE-AF5F-DC1402DBFCB2}" type="slidenum">
              <a:rPr lang="uk-UA" smtClean="0"/>
              <a:pPr/>
              <a:t>39</a:t>
            </a:fld>
            <a:endParaRPr lang="uk-UA" dirty="0"/>
          </a:p>
        </p:txBody>
      </p:sp>
      <p:pic>
        <p:nvPicPr>
          <p:cNvPr id="3" name="Рисунок 2">
            <a:extLst>
              <a:ext uri="{FF2B5EF4-FFF2-40B4-BE49-F238E27FC236}">
                <a16:creationId xmlns:a16="http://schemas.microsoft.com/office/drawing/2014/main" id="{355D47E3-D34D-4E76-A82F-F2B54C4ECA81}"/>
              </a:ext>
            </a:extLst>
          </p:cNvPr>
          <p:cNvPicPr>
            <a:picLocks noChangeAspect="1"/>
          </p:cNvPicPr>
          <p:nvPr/>
        </p:nvPicPr>
        <p:blipFill>
          <a:blip r:embed="rId2"/>
          <a:stretch>
            <a:fillRect/>
          </a:stretch>
        </p:blipFill>
        <p:spPr>
          <a:xfrm>
            <a:off x="0" y="1390"/>
            <a:ext cx="12192000" cy="6855220"/>
          </a:xfrm>
          <a:prstGeom prst="rect">
            <a:avLst/>
          </a:prstGeom>
        </p:spPr>
      </p:pic>
    </p:spTree>
    <p:extLst>
      <p:ext uri="{BB962C8B-B14F-4D97-AF65-F5344CB8AC3E}">
        <p14:creationId xmlns:p14="http://schemas.microsoft.com/office/powerpoint/2010/main" val="2091088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err="1">
                <a:solidFill>
                  <a:schemeClr val="accent1"/>
                </a:solidFill>
              </a:rPr>
              <a:t>Розробка</a:t>
            </a:r>
            <a:r>
              <a:rPr lang="ru-RU" dirty="0">
                <a:solidFill>
                  <a:schemeClr val="accent1"/>
                </a:solidFill>
              </a:rPr>
              <a:t> </a:t>
            </a:r>
            <a:r>
              <a:rPr lang="ru-RU" dirty="0" err="1">
                <a:solidFill>
                  <a:schemeClr val="accent1"/>
                </a:solidFill>
              </a:rPr>
              <a:t>презентації</a:t>
            </a:r>
            <a:r>
              <a:rPr lang="ru-RU" dirty="0">
                <a:solidFill>
                  <a:schemeClr val="accent1"/>
                </a:solidFill>
              </a:rPr>
              <a:t> </a:t>
            </a:r>
            <a:r>
              <a:rPr lang="ru-RU" dirty="0" err="1">
                <a:solidFill>
                  <a:schemeClr val="accent1"/>
                </a:solidFill>
              </a:rPr>
              <a:t>складається</a:t>
            </a:r>
            <a:r>
              <a:rPr lang="ru-RU" dirty="0">
                <a:solidFill>
                  <a:schemeClr val="accent1"/>
                </a:solidFill>
              </a:rPr>
              <a:t> з </a:t>
            </a:r>
            <a:r>
              <a:rPr lang="ru-RU" dirty="0" err="1">
                <a:solidFill>
                  <a:schemeClr val="accent1"/>
                </a:solidFill>
              </a:rPr>
              <a:t>кількох</a:t>
            </a:r>
            <a:r>
              <a:rPr lang="ru-RU" dirty="0">
                <a:solidFill>
                  <a:schemeClr val="accent1"/>
                </a:solidFill>
              </a:rPr>
              <a:t> </a:t>
            </a:r>
            <a:r>
              <a:rPr lang="ru-RU" dirty="0" err="1">
                <a:solidFill>
                  <a:schemeClr val="accent1"/>
                </a:solidFill>
              </a:rPr>
              <a:t>послідовних</a:t>
            </a:r>
            <a:r>
              <a:rPr lang="ru-RU" dirty="0">
                <a:solidFill>
                  <a:schemeClr val="accent1"/>
                </a:solidFill>
              </a:rPr>
              <a:t> </a:t>
            </a:r>
            <a:r>
              <a:rPr lang="ru-RU" dirty="0" err="1">
                <a:solidFill>
                  <a:schemeClr val="accent1"/>
                </a:solidFill>
              </a:rPr>
              <a:t>етапів</a:t>
            </a:r>
            <a:endParaRPr lang="ru-RU" dirty="0">
              <a:solidFill>
                <a:schemeClr val="accent1"/>
              </a:solidFill>
            </a:endParaRPr>
          </a:p>
        </p:txBody>
      </p:sp>
      <p:grpSp>
        <p:nvGrpSpPr>
          <p:cNvPr id="2" name="Групувати 2">
            <a:extLst>
              <a:ext uri="{FF2B5EF4-FFF2-40B4-BE49-F238E27FC236}">
                <a16:creationId xmlns:a16="http://schemas.microsoft.com/office/drawing/2014/main" id="{684B9B03-12DF-E2CE-CBC3-6634ADEEF1E6}"/>
              </a:ext>
            </a:extLst>
          </p:cNvPr>
          <p:cNvGrpSpPr/>
          <p:nvPr/>
        </p:nvGrpSpPr>
        <p:grpSpPr>
          <a:xfrm>
            <a:off x="983117" y="2279638"/>
            <a:ext cx="1980000" cy="1535264"/>
            <a:chOff x="983117" y="3142084"/>
            <a:chExt cx="1980000" cy="1535264"/>
          </a:xfrm>
        </p:grpSpPr>
        <p:sp>
          <p:nvSpPr>
            <p:cNvPr id="3" name="Прямокутник: округлені кути 17">
              <a:extLst>
                <a:ext uri="{FF2B5EF4-FFF2-40B4-BE49-F238E27FC236}">
                  <a16:creationId xmlns:a16="http://schemas.microsoft.com/office/drawing/2014/main" id="{F76560CB-F651-FBCF-87DF-82E27C3A2C53}"/>
                </a:ext>
              </a:extLst>
            </p:cNvPr>
            <p:cNvSpPr/>
            <p:nvPr/>
          </p:nvSpPr>
          <p:spPr>
            <a:xfrm>
              <a:off x="983117" y="3322084"/>
              <a:ext cx="1980000" cy="13552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tx1"/>
                  </a:solidFill>
                  <a:latin typeface="+mj-lt"/>
                </a:rPr>
                <a:t>Для чого?</a:t>
              </a:r>
            </a:p>
          </p:txBody>
        </p:sp>
        <p:sp>
          <p:nvSpPr>
            <p:cNvPr id="6" name="Овал 5">
              <a:extLst>
                <a:ext uri="{FF2B5EF4-FFF2-40B4-BE49-F238E27FC236}">
                  <a16:creationId xmlns:a16="http://schemas.microsoft.com/office/drawing/2014/main" id="{DCFA21BE-59FE-8E72-08D1-BF0328808FBB}"/>
                </a:ext>
              </a:extLst>
            </p:cNvPr>
            <p:cNvSpPr/>
            <p:nvPr/>
          </p:nvSpPr>
          <p:spPr>
            <a:xfrm>
              <a:off x="1793117" y="3142084"/>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1</a:t>
              </a:r>
            </a:p>
          </p:txBody>
        </p:sp>
      </p:grpSp>
      <p:grpSp>
        <p:nvGrpSpPr>
          <p:cNvPr id="7" name="Групувати 5">
            <a:extLst>
              <a:ext uri="{FF2B5EF4-FFF2-40B4-BE49-F238E27FC236}">
                <a16:creationId xmlns:a16="http://schemas.microsoft.com/office/drawing/2014/main" id="{22FE1B2A-FCA0-3A97-5FDF-1E2D21F0EAC0}"/>
              </a:ext>
            </a:extLst>
          </p:cNvPr>
          <p:cNvGrpSpPr/>
          <p:nvPr/>
        </p:nvGrpSpPr>
        <p:grpSpPr>
          <a:xfrm>
            <a:off x="3044672" y="2279638"/>
            <a:ext cx="1980000" cy="1535264"/>
            <a:chOff x="3044672" y="3142084"/>
            <a:chExt cx="1980000" cy="1535264"/>
          </a:xfrm>
        </p:grpSpPr>
        <p:sp>
          <p:nvSpPr>
            <p:cNvPr id="8" name="Прямокутник: округлені кути 19">
              <a:extLst>
                <a:ext uri="{FF2B5EF4-FFF2-40B4-BE49-F238E27FC236}">
                  <a16:creationId xmlns:a16="http://schemas.microsoft.com/office/drawing/2014/main" id="{80AAC6C9-8CEE-1B1E-9C7D-71DC0F527165}"/>
                </a:ext>
              </a:extLst>
            </p:cNvPr>
            <p:cNvSpPr/>
            <p:nvPr/>
          </p:nvSpPr>
          <p:spPr>
            <a:xfrm>
              <a:off x="3044672" y="3322084"/>
              <a:ext cx="1980000" cy="13552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tx1"/>
                  </a:solidFill>
                  <a:latin typeface="+mj-lt"/>
                </a:rPr>
                <a:t>Як будете використовувати</a:t>
              </a:r>
            </a:p>
          </p:txBody>
        </p:sp>
        <p:sp>
          <p:nvSpPr>
            <p:cNvPr id="9" name="Овал 8">
              <a:extLst>
                <a:ext uri="{FF2B5EF4-FFF2-40B4-BE49-F238E27FC236}">
                  <a16:creationId xmlns:a16="http://schemas.microsoft.com/office/drawing/2014/main" id="{DC7767ED-81F6-DC37-AD32-87D8B7B79291}"/>
                </a:ext>
              </a:extLst>
            </p:cNvPr>
            <p:cNvSpPr/>
            <p:nvPr/>
          </p:nvSpPr>
          <p:spPr>
            <a:xfrm>
              <a:off x="3854672" y="3142084"/>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2</a:t>
              </a:r>
            </a:p>
          </p:txBody>
        </p:sp>
      </p:grpSp>
      <p:grpSp>
        <p:nvGrpSpPr>
          <p:cNvPr id="10" name="Групувати 7">
            <a:extLst>
              <a:ext uri="{FF2B5EF4-FFF2-40B4-BE49-F238E27FC236}">
                <a16:creationId xmlns:a16="http://schemas.microsoft.com/office/drawing/2014/main" id="{C51B15CE-8676-89F4-755F-8ECA03ABCA4A}"/>
              </a:ext>
            </a:extLst>
          </p:cNvPr>
          <p:cNvGrpSpPr/>
          <p:nvPr/>
        </p:nvGrpSpPr>
        <p:grpSpPr>
          <a:xfrm>
            <a:off x="5106227" y="2279638"/>
            <a:ext cx="1980000" cy="1535264"/>
            <a:chOff x="5106227" y="3142084"/>
            <a:chExt cx="1980000" cy="1535264"/>
          </a:xfrm>
        </p:grpSpPr>
        <p:sp>
          <p:nvSpPr>
            <p:cNvPr id="11" name="Прямокутник: округлені кути 20">
              <a:extLst>
                <a:ext uri="{FF2B5EF4-FFF2-40B4-BE49-F238E27FC236}">
                  <a16:creationId xmlns:a16="http://schemas.microsoft.com/office/drawing/2014/main" id="{C15E78D5-2FF1-FC8E-5DCD-C0615FA4ACE6}"/>
                </a:ext>
              </a:extLst>
            </p:cNvPr>
            <p:cNvSpPr/>
            <p:nvPr/>
          </p:nvSpPr>
          <p:spPr>
            <a:xfrm>
              <a:off x="5106227" y="3322084"/>
              <a:ext cx="1980000" cy="13552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tx1"/>
                  </a:solidFill>
                  <a:latin typeface="+mj-lt"/>
                </a:rPr>
                <a:t>Структура (презентації + слайдів)</a:t>
              </a:r>
            </a:p>
          </p:txBody>
        </p:sp>
        <p:sp>
          <p:nvSpPr>
            <p:cNvPr id="12" name="Овал 11">
              <a:extLst>
                <a:ext uri="{FF2B5EF4-FFF2-40B4-BE49-F238E27FC236}">
                  <a16:creationId xmlns:a16="http://schemas.microsoft.com/office/drawing/2014/main" id="{AC3207BC-DC8D-CAAA-0666-3668CE71C0FE}"/>
                </a:ext>
              </a:extLst>
            </p:cNvPr>
            <p:cNvSpPr/>
            <p:nvPr/>
          </p:nvSpPr>
          <p:spPr>
            <a:xfrm>
              <a:off x="5916227" y="3142084"/>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3</a:t>
              </a:r>
            </a:p>
          </p:txBody>
        </p:sp>
      </p:grpSp>
      <p:grpSp>
        <p:nvGrpSpPr>
          <p:cNvPr id="13" name="Групувати 8">
            <a:extLst>
              <a:ext uri="{FF2B5EF4-FFF2-40B4-BE49-F238E27FC236}">
                <a16:creationId xmlns:a16="http://schemas.microsoft.com/office/drawing/2014/main" id="{F11E916A-BB42-0C3A-E743-8E6EFBC26B7C}"/>
              </a:ext>
            </a:extLst>
          </p:cNvPr>
          <p:cNvGrpSpPr/>
          <p:nvPr/>
        </p:nvGrpSpPr>
        <p:grpSpPr>
          <a:xfrm>
            <a:off x="7167782" y="2279638"/>
            <a:ext cx="1980000" cy="1535264"/>
            <a:chOff x="7167782" y="3142084"/>
            <a:chExt cx="1980000" cy="1535264"/>
          </a:xfrm>
        </p:grpSpPr>
        <p:sp>
          <p:nvSpPr>
            <p:cNvPr id="14" name="Прямокутник: округлені кути 21">
              <a:extLst>
                <a:ext uri="{FF2B5EF4-FFF2-40B4-BE49-F238E27FC236}">
                  <a16:creationId xmlns:a16="http://schemas.microsoft.com/office/drawing/2014/main" id="{9006F218-CA9B-42F2-3510-CB9C0AEAFA3B}"/>
                </a:ext>
              </a:extLst>
            </p:cNvPr>
            <p:cNvSpPr/>
            <p:nvPr/>
          </p:nvSpPr>
          <p:spPr>
            <a:xfrm>
              <a:off x="7167782" y="3322084"/>
              <a:ext cx="1980000" cy="13552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tx1"/>
                  </a:solidFill>
                  <a:latin typeface="+mj-lt"/>
                </a:rPr>
                <a:t>Контент </a:t>
              </a:r>
            </a:p>
          </p:txBody>
        </p:sp>
        <p:sp>
          <p:nvSpPr>
            <p:cNvPr id="15" name="Овал 14">
              <a:extLst>
                <a:ext uri="{FF2B5EF4-FFF2-40B4-BE49-F238E27FC236}">
                  <a16:creationId xmlns:a16="http://schemas.microsoft.com/office/drawing/2014/main" id="{60537BB4-0E63-2FAE-4FFF-4CB88C1B8A37}"/>
                </a:ext>
              </a:extLst>
            </p:cNvPr>
            <p:cNvSpPr/>
            <p:nvPr/>
          </p:nvSpPr>
          <p:spPr>
            <a:xfrm>
              <a:off x="7977782" y="3142084"/>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4</a:t>
              </a:r>
            </a:p>
          </p:txBody>
        </p:sp>
      </p:grpSp>
      <p:grpSp>
        <p:nvGrpSpPr>
          <p:cNvPr id="16" name="Групувати 9">
            <a:extLst>
              <a:ext uri="{FF2B5EF4-FFF2-40B4-BE49-F238E27FC236}">
                <a16:creationId xmlns:a16="http://schemas.microsoft.com/office/drawing/2014/main" id="{C815B093-E6C4-5176-6084-1DBC9284CDBD}"/>
              </a:ext>
            </a:extLst>
          </p:cNvPr>
          <p:cNvGrpSpPr/>
          <p:nvPr/>
        </p:nvGrpSpPr>
        <p:grpSpPr>
          <a:xfrm>
            <a:off x="9229338" y="2279638"/>
            <a:ext cx="1980000" cy="1535264"/>
            <a:chOff x="9229338" y="3142084"/>
            <a:chExt cx="1980000" cy="1535264"/>
          </a:xfrm>
        </p:grpSpPr>
        <p:sp>
          <p:nvSpPr>
            <p:cNvPr id="17" name="Прямокутник: округлені кути 22">
              <a:extLst>
                <a:ext uri="{FF2B5EF4-FFF2-40B4-BE49-F238E27FC236}">
                  <a16:creationId xmlns:a16="http://schemas.microsoft.com/office/drawing/2014/main" id="{E1E82DFE-93AD-A113-20CE-3546525DA9CD}"/>
                </a:ext>
              </a:extLst>
            </p:cNvPr>
            <p:cNvSpPr/>
            <p:nvPr/>
          </p:nvSpPr>
          <p:spPr>
            <a:xfrm>
              <a:off x="9229338" y="3322084"/>
              <a:ext cx="1980000" cy="135526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uk-UA" sz="1500" dirty="0">
                  <a:solidFill>
                    <a:schemeClr val="tx1"/>
                  </a:solidFill>
                  <a:latin typeface="+mj-lt"/>
                </a:rPr>
                <a:t>Дизайн </a:t>
              </a:r>
            </a:p>
          </p:txBody>
        </p:sp>
        <p:sp>
          <p:nvSpPr>
            <p:cNvPr id="18" name="Овал 17">
              <a:extLst>
                <a:ext uri="{FF2B5EF4-FFF2-40B4-BE49-F238E27FC236}">
                  <a16:creationId xmlns:a16="http://schemas.microsoft.com/office/drawing/2014/main" id="{F8B21BA0-0608-F170-222F-B994E253DB18}"/>
                </a:ext>
              </a:extLst>
            </p:cNvPr>
            <p:cNvSpPr/>
            <p:nvPr/>
          </p:nvSpPr>
          <p:spPr>
            <a:xfrm>
              <a:off x="10039338" y="3142084"/>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5</a:t>
              </a:r>
            </a:p>
          </p:txBody>
        </p:sp>
      </p:grpSp>
    </p:spTree>
    <p:extLst>
      <p:ext uri="{BB962C8B-B14F-4D97-AF65-F5344CB8AC3E}">
        <p14:creationId xmlns:p14="http://schemas.microsoft.com/office/powerpoint/2010/main" val="36975854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номера слайда 1">
            <a:extLst>
              <a:ext uri="{FF2B5EF4-FFF2-40B4-BE49-F238E27FC236}">
                <a16:creationId xmlns:a16="http://schemas.microsoft.com/office/drawing/2014/main" id="{1E9408F9-0DEA-4262-8EB1-A440B04EB63A}"/>
              </a:ext>
            </a:extLst>
          </p:cNvPr>
          <p:cNvSpPr>
            <a:spLocks noGrp="1"/>
          </p:cNvSpPr>
          <p:nvPr>
            <p:ph type="sldNum" sz="quarter" idx="12"/>
          </p:nvPr>
        </p:nvSpPr>
        <p:spPr>
          <a:xfrm>
            <a:off x="8567058" y="6472462"/>
            <a:ext cx="2743200" cy="365125"/>
          </a:xfrm>
          <a:prstGeom prst="rect">
            <a:avLst/>
          </a:prstGeom>
        </p:spPr>
        <p:txBody>
          <a:bodyPr vert="horz" lIns="91440" tIns="45720" rIns="91440" bIns="45720" rtlCol="0" anchor="ctr"/>
          <a:lstStyle>
            <a:defPPr>
              <a:defRPr lang="uk-UA"/>
            </a:defPPr>
            <a:lvl1pPr marL="0" algn="r" defTabSz="914400" rtl="0" eaLnBrk="1" latinLnBrk="0" hangingPunct="1">
              <a:defRPr sz="900"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39F462-C6E8-4AAE-AF5F-DC1402DBFCB2}" type="slidenum">
              <a:rPr lang="uk-UA" smtClean="0"/>
              <a:pPr/>
              <a:t>40</a:t>
            </a:fld>
            <a:endParaRPr lang="uk-UA" dirty="0"/>
          </a:p>
        </p:txBody>
      </p:sp>
      <p:pic>
        <p:nvPicPr>
          <p:cNvPr id="3" name="Рисунок 2">
            <a:extLst>
              <a:ext uri="{FF2B5EF4-FFF2-40B4-BE49-F238E27FC236}">
                <a16:creationId xmlns:a16="http://schemas.microsoft.com/office/drawing/2014/main" id="{20F74947-5168-415F-AE5E-96B9A0E3170E}"/>
              </a:ext>
            </a:extLst>
          </p:cNvPr>
          <p:cNvPicPr>
            <a:picLocks noChangeAspect="1"/>
          </p:cNvPicPr>
          <p:nvPr/>
        </p:nvPicPr>
        <p:blipFill>
          <a:blip r:embed="rId2"/>
          <a:stretch>
            <a:fillRect/>
          </a:stretch>
        </p:blipFill>
        <p:spPr>
          <a:xfrm>
            <a:off x="0" y="1390"/>
            <a:ext cx="12192000" cy="6855220"/>
          </a:xfrm>
          <a:prstGeom prst="rect">
            <a:avLst/>
          </a:prstGeom>
        </p:spPr>
      </p:pic>
    </p:spTree>
    <p:extLst>
      <p:ext uri="{BB962C8B-B14F-4D97-AF65-F5344CB8AC3E}">
        <p14:creationId xmlns:p14="http://schemas.microsoft.com/office/powerpoint/2010/main" val="35750069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номера слайда 1">
            <a:extLst>
              <a:ext uri="{FF2B5EF4-FFF2-40B4-BE49-F238E27FC236}">
                <a16:creationId xmlns:a16="http://schemas.microsoft.com/office/drawing/2014/main" id="{F1CA90CF-5E50-4B89-8133-C431DE069A68}"/>
              </a:ext>
            </a:extLst>
          </p:cNvPr>
          <p:cNvSpPr>
            <a:spLocks noGrp="1"/>
          </p:cNvSpPr>
          <p:nvPr>
            <p:ph type="sldNum" sz="quarter" idx="12"/>
          </p:nvPr>
        </p:nvSpPr>
        <p:spPr>
          <a:xfrm>
            <a:off x="8567058" y="6472462"/>
            <a:ext cx="2743200" cy="365125"/>
          </a:xfrm>
          <a:prstGeom prst="rect">
            <a:avLst/>
          </a:prstGeom>
        </p:spPr>
        <p:txBody>
          <a:bodyPr vert="horz" lIns="91440" tIns="45720" rIns="91440" bIns="45720" rtlCol="0" anchor="ctr"/>
          <a:lstStyle>
            <a:defPPr>
              <a:defRPr lang="uk-UA"/>
            </a:defPPr>
            <a:lvl1pPr marL="0" algn="r" defTabSz="914400" rtl="0" eaLnBrk="1" latinLnBrk="0" hangingPunct="1">
              <a:defRPr sz="900" kern="1200">
                <a:solidFill>
                  <a:schemeClr val="tx1">
                    <a:lumMod val="50000"/>
                    <a:lumOff val="50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D39F462-C6E8-4AAE-AF5F-DC1402DBFCB2}" type="slidenum">
              <a:rPr lang="uk-UA" smtClean="0"/>
              <a:pPr/>
              <a:t>41</a:t>
            </a:fld>
            <a:endParaRPr lang="uk-UA" dirty="0"/>
          </a:p>
        </p:txBody>
      </p:sp>
      <p:pic>
        <p:nvPicPr>
          <p:cNvPr id="3" name="Рисунок 2">
            <a:extLst>
              <a:ext uri="{FF2B5EF4-FFF2-40B4-BE49-F238E27FC236}">
                <a16:creationId xmlns:a16="http://schemas.microsoft.com/office/drawing/2014/main" id="{3AF037D8-914F-4B52-A447-3651A8E22406}"/>
              </a:ext>
            </a:extLst>
          </p:cNvPr>
          <p:cNvPicPr>
            <a:picLocks noChangeAspect="1"/>
          </p:cNvPicPr>
          <p:nvPr/>
        </p:nvPicPr>
        <p:blipFill>
          <a:blip r:embed="rId2"/>
          <a:stretch>
            <a:fillRect/>
          </a:stretch>
        </p:blipFill>
        <p:spPr>
          <a:xfrm>
            <a:off x="0" y="1390"/>
            <a:ext cx="12192000" cy="6855220"/>
          </a:xfrm>
          <a:prstGeom prst="rect">
            <a:avLst/>
          </a:prstGeom>
        </p:spPr>
      </p:pic>
    </p:spTree>
    <p:extLst>
      <p:ext uri="{BB962C8B-B14F-4D97-AF65-F5344CB8AC3E}">
        <p14:creationId xmlns:p14="http://schemas.microsoft.com/office/powerpoint/2010/main" val="26462655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54B64-4457-450E-87F9-A52B139EA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1C554B64-4457-450E-87F9-A52B139EA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Прямокутник 13">
            <a:extLst>
              <a:ext uri="{FF2B5EF4-FFF2-40B4-BE49-F238E27FC236}">
                <a16:creationId xmlns:a16="http://schemas.microsoft.com/office/drawing/2014/main" id="{A14FE9C0-B3BB-4470-824A-5C18DF861D38}"/>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sp>
        <p:nvSpPr>
          <p:cNvPr id="2" name="Текст 1">
            <a:extLst>
              <a:ext uri="{FF2B5EF4-FFF2-40B4-BE49-F238E27FC236}">
                <a16:creationId xmlns:a16="http://schemas.microsoft.com/office/drawing/2014/main" id="{B98A5077-16B2-5216-7BF4-892A3FC6E796}"/>
              </a:ext>
            </a:extLst>
          </p:cNvPr>
          <p:cNvSpPr>
            <a:spLocks noGrp="1"/>
          </p:cNvSpPr>
          <p:nvPr>
            <p:ph type="body" sz="quarter" idx="10"/>
          </p:nvPr>
        </p:nvSpPr>
        <p:spPr/>
        <p:txBody>
          <a:bodyPr/>
          <a:lstStyle/>
          <a:p>
            <a:r>
              <a:rPr lang="ru-RU" dirty="0">
                <a:solidFill>
                  <a:schemeClr val="bg1"/>
                </a:solidFill>
              </a:rPr>
              <a:t>Як </a:t>
            </a:r>
            <a:r>
              <a:rPr lang="ru-RU" dirty="0" err="1">
                <a:solidFill>
                  <a:schemeClr val="bg1"/>
                </a:solidFill>
              </a:rPr>
              <a:t>повинні</a:t>
            </a:r>
            <a:r>
              <a:rPr lang="ru-RU" dirty="0">
                <a:solidFill>
                  <a:schemeClr val="bg1"/>
                </a:solidFill>
              </a:rPr>
              <a:t> </a:t>
            </a:r>
            <a:r>
              <a:rPr lang="ru-RU" dirty="0" err="1">
                <a:solidFill>
                  <a:schemeClr val="bg1"/>
                </a:solidFill>
              </a:rPr>
              <a:t>виглядати</a:t>
            </a:r>
            <a:r>
              <a:rPr lang="ru-RU" dirty="0">
                <a:solidFill>
                  <a:schemeClr val="bg1"/>
                </a:solidFill>
              </a:rPr>
              <a:t> </a:t>
            </a:r>
            <a:r>
              <a:rPr lang="ru-RU" dirty="0" err="1">
                <a:solidFill>
                  <a:schemeClr val="bg1"/>
                </a:solidFill>
              </a:rPr>
              <a:t>слайди</a:t>
            </a:r>
            <a:r>
              <a:rPr lang="ru-RU" dirty="0">
                <a:solidFill>
                  <a:schemeClr val="bg1"/>
                </a:solidFill>
              </a:rPr>
              <a:t>?</a:t>
            </a:r>
          </a:p>
        </p:txBody>
      </p:sp>
      <p:pic>
        <p:nvPicPr>
          <p:cNvPr id="3" name="Рисунок 2" descr="Изображение выглядит как человек, рука, темный&#10;&#10;Автоматически созданное описание">
            <a:extLst>
              <a:ext uri="{FF2B5EF4-FFF2-40B4-BE49-F238E27FC236}">
                <a16:creationId xmlns:a16="http://schemas.microsoft.com/office/drawing/2014/main" id="{30E040F5-CDEE-7CFE-AFD9-CAE29B26B0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1399316" y="2468693"/>
            <a:ext cx="5401160" cy="5401160"/>
          </a:xfrm>
          <a:prstGeom prst="rect">
            <a:avLst/>
          </a:prstGeom>
        </p:spPr>
      </p:pic>
      <p:sp>
        <p:nvSpPr>
          <p:cNvPr id="4" name="Овал 3">
            <a:extLst>
              <a:ext uri="{FF2B5EF4-FFF2-40B4-BE49-F238E27FC236}">
                <a16:creationId xmlns:a16="http://schemas.microsoft.com/office/drawing/2014/main" id="{1ECB4A92-CA42-8B12-1424-AB3FA5C7E9A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7398378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1ACAC15C-A918-7289-280A-A6B175F570AE}"/>
              </a:ext>
            </a:extLst>
          </p:cNvPr>
          <p:cNvSpPr>
            <a:spLocks noGrp="1"/>
          </p:cNvSpPr>
          <p:nvPr>
            <p:ph type="body" sz="quarter" idx="10"/>
          </p:nvPr>
        </p:nvSpPr>
        <p:spPr/>
        <p:txBody>
          <a:bodyPr/>
          <a:lstStyle/>
          <a:p>
            <a:r>
              <a:rPr lang="ru-RU" dirty="0" err="1">
                <a:solidFill>
                  <a:schemeClr val="accent5"/>
                </a:solidFill>
              </a:rPr>
              <a:t>Наповненість</a:t>
            </a:r>
            <a:r>
              <a:rPr lang="ru-RU" dirty="0">
                <a:solidFill>
                  <a:schemeClr val="accent5"/>
                </a:solidFill>
              </a:rPr>
              <a:t> </a:t>
            </a:r>
            <a:r>
              <a:rPr lang="ru-RU" dirty="0" err="1">
                <a:solidFill>
                  <a:schemeClr val="accent5"/>
                </a:solidFill>
              </a:rPr>
              <a:t>слайдів</a:t>
            </a:r>
            <a:r>
              <a:rPr lang="ru-RU" dirty="0">
                <a:solidFill>
                  <a:schemeClr val="accent1"/>
                </a:solidFill>
              </a:rPr>
              <a:t> </a:t>
            </a:r>
            <a:r>
              <a:rPr lang="ru-RU" dirty="0" err="1">
                <a:solidFill>
                  <a:schemeClr val="accent1"/>
                </a:solidFill>
              </a:rPr>
              <a:t>залежить</a:t>
            </a:r>
            <a:r>
              <a:rPr lang="ru-RU" dirty="0">
                <a:solidFill>
                  <a:schemeClr val="accent1"/>
                </a:solidFill>
              </a:rPr>
              <a:t> </a:t>
            </a:r>
            <a:r>
              <a:rPr lang="ru-RU" dirty="0" err="1">
                <a:solidFill>
                  <a:schemeClr val="accent1"/>
                </a:solidFill>
              </a:rPr>
              <a:t>від</a:t>
            </a:r>
            <a:r>
              <a:rPr lang="ru-RU" dirty="0">
                <a:solidFill>
                  <a:schemeClr val="accent1"/>
                </a:solidFill>
              </a:rPr>
              <a:t> того, як буде </a:t>
            </a:r>
            <a:r>
              <a:rPr lang="ru-RU" dirty="0" err="1">
                <a:solidFill>
                  <a:schemeClr val="accent1"/>
                </a:solidFill>
              </a:rPr>
              <a:t>подаватися</a:t>
            </a:r>
            <a:r>
              <a:rPr lang="ru-RU" dirty="0">
                <a:solidFill>
                  <a:schemeClr val="accent1"/>
                </a:solidFill>
              </a:rPr>
              <a:t> контент </a:t>
            </a:r>
            <a:r>
              <a:rPr lang="ru-RU" dirty="0" err="1">
                <a:solidFill>
                  <a:schemeClr val="accent1"/>
                </a:solidFill>
              </a:rPr>
              <a:t>презентації</a:t>
            </a:r>
            <a:endParaRPr lang="ru-UA" dirty="0">
              <a:solidFill>
                <a:schemeClr val="accent1"/>
              </a:solidFill>
            </a:endParaRPr>
          </a:p>
        </p:txBody>
      </p:sp>
      <p:grpSp>
        <p:nvGrpSpPr>
          <p:cNvPr id="15" name="Группа 14">
            <a:extLst>
              <a:ext uri="{FF2B5EF4-FFF2-40B4-BE49-F238E27FC236}">
                <a16:creationId xmlns:a16="http://schemas.microsoft.com/office/drawing/2014/main" id="{D0C51244-C9FE-DC17-50D3-8813F586E3F3}"/>
              </a:ext>
            </a:extLst>
          </p:cNvPr>
          <p:cNvGrpSpPr/>
          <p:nvPr/>
        </p:nvGrpSpPr>
        <p:grpSpPr>
          <a:xfrm>
            <a:off x="814388" y="2133600"/>
            <a:ext cx="3240000" cy="4356099"/>
            <a:chOff x="814388" y="2133600"/>
            <a:chExt cx="3240000" cy="4356099"/>
          </a:xfrm>
        </p:grpSpPr>
        <p:sp>
          <p:nvSpPr>
            <p:cNvPr id="3" name="Прямокутник 29">
              <a:extLst>
                <a:ext uri="{FF2B5EF4-FFF2-40B4-BE49-F238E27FC236}">
                  <a16:creationId xmlns:a16="http://schemas.microsoft.com/office/drawing/2014/main" id="{62640153-B56D-3B2E-E359-3D15B9E4D9DD}"/>
                </a:ext>
              </a:extLst>
            </p:cNvPr>
            <p:cNvSpPr/>
            <p:nvPr/>
          </p:nvSpPr>
          <p:spPr>
            <a:xfrm>
              <a:off x="814388" y="2133600"/>
              <a:ext cx="3240000" cy="18320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Прямокутник 19">
              <a:extLst>
                <a:ext uri="{FF2B5EF4-FFF2-40B4-BE49-F238E27FC236}">
                  <a16:creationId xmlns:a16="http://schemas.microsoft.com/office/drawing/2014/main" id="{5517EF0C-910A-A070-B0F4-B9CF0796358B}"/>
                </a:ext>
              </a:extLst>
            </p:cNvPr>
            <p:cNvSpPr/>
            <p:nvPr/>
          </p:nvSpPr>
          <p:spPr>
            <a:xfrm>
              <a:off x="814388" y="4151918"/>
              <a:ext cx="3240000" cy="2337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5" name="Прямокутник: округлені кути 24">
              <a:extLst>
                <a:ext uri="{FF2B5EF4-FFF2-40B4-BE49-F238E27FC236}">
                  <a16:creationId xmlns:a16="http://schemas.microsoft.com/office/drawing/2014/main" id="{189FCE52-166B-2D52-284F-642FE1FDB6A3}"/>
                </a:ext>
              </a:extLst>
            </p:cNvPr>
            <p:cNvSpPr/>
            <p:nvPr/>
          </p:nvSpPr>
          <p:spPr>
            <a:xfrm>
              <a:off x="904388" y="4278918"/>
              <a:ext cx="3060000" cy="6680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uk-UA" sz="1600" dirty="0">
                  <a:solidFill>
                    <a:schemeClr val="tx1"/>
                  </a:solidFill>
                  <a:latin typeface="+mj-lt"/>
                  <a:ea typeface="Roboto Black" panose="02000000000000000000" pitchFamily="2" charset="0"/>
                </a:rPr>
                <a:t>Презентація для великої аудиторії</a:t>
              </a:r>
            </a:p>
          </p:txBody>
        </p:sp>
        <p:sp>
          <p:nvSpPr>
            <p:cNvPr id="6" name="Прямокутник: округлені кути 32">
              <a:extLst>
                <a:ext uri="{FF2B5EF4-FFF2-40B4-BE49-F238E27FC236}">
                  <a16:creationId xmlns:a16="http://schemas.microsoft.com/office/drawing/2014/main" id="{C63EB727-1434-1F0E-D1A4-243040B0E957}"/>
                </a:ext>
              </a:extLst>
            </p:cNvPr>
            <p:cNvSpPr/>
            <p:nvPr/>
          </p:nvSpPr>
          <p:spPr>
            <a:xfrm>
              <a:off x="904388" y="4947005"/>
              <a:ext cx="3060000" cy="6680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Ключові тези / образи</a:t>
              </a:r>
            </a:p>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Не працюють без пояснення </a:t>
              </a:r>
            </a:p>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Фокус на спікері (презентація виключно фон)</a:t>
              </a:r>
            </a:p>
          </p:txBody>
        </p:sp>
        <p:grpSp>
          <p:nvGrpSpPr>
            <p:cNvPr id="7" name="Групувати 8">
              <a:extLst>
                <a:ext uri="{FF2B5EF4-FFF2-40B4-BE49-F238E27FC236}">
                  <a16:creationId xmlns:a16="http://schemas.microsoft.com/office/drawing/2014/main" id="{0075B604-4815-8676-C557-ED46DCEFC6DE}"/>
                </a:ext>
              </a:extLst>
            </p:cNvPr>
            <p:cNvGrpSpPr/>
            <p:nvPr/>
          </p:nvGrpSpPr>
          <p:grpSpPr>
            <a:xfrm>
              <a:off x="1023406" y="2426684"/>
              <a:ext cx="2821964" cy="914400"/>
              <a:chOff x="1200451" y="2447982"/>
              <a:chExt cx="2821964" cy="914400"/>
            </a:xfrm>
            <a:solidFill>
              <a:schemeClr val="accent5"/>
            </a:solidFill>
          </p:grpSpPr>
          <p:sp>
            <p:nvSpPr>
              <p:cNvPr id="8" name="Овал 7">
                <a:extLst>
                  <a:ext uri="{FF2B5EF4-FFF2-40B4-BE49-F238E27FC236}">
                    <a16:creationId xmlns:a16="http://schemas.microsoft.com/office/drawing/2014/main" id="{A090127A-FA04-F102-E076-A48089066A01}"/>
                  </a:ext>
                </a:extLst>
              </p:cNvPr>
              <p:cNvSpPr/>
              <p:nvPr/>
            </p:nvSpPr>
            <p:spPr>
              <a:xfrm>
                <a:off x="2154233" y="2447982"/>
                <a:ext cx="914400" cy="9144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Овал 8">
                <a:extLst>
                  <a:ext uri="{FF2B5EF4-FFF2-40B4-BE49-F238E27FC236}">
                    <a16:creationId xmlns:a16="http://schemas.microsoft.com/office/drawing/2014/main" id="{D1AA5A99-76BE-DF33-7F3A-5887A5ADB043}"/>
                  </a:ext>
                </a:extLst>
              </p:cNvPr>
              <p:cNvSpPr/>
              <p:nvPr/>
            </p:nvSpPr>
            <p:spPr>
              <a:xfrm>
                <a:off x="1677342" y="2725182"/>
                <a:ext cx="360000" cy="360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Овал 9">
                <a:extLst>
                  <a:ext uri="{FF2B5EF4-FFF2-40B4-BE49-F238E27FC236}">
                    <a16:creationId xmlns:a16="http://schemas.microsoft.com/office/drawing/2014/main" id="{36D5761D-D316-72C4-8C08-03E6BEE49B57}"/>
                  </a:ext>
                </a:extLst>
              </p:cNvPr>
              <p:cNvSpPr/>
              <p:nvPr/>
            </p:nvSpPr>
            <p:spPr>
              <a:xfrm>
                <a:off x="1200451" y="2725182"/>
                <a:ext cx="360000" cy="360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Овал 10">
                <a:extLst>
                  <a:ext uri="{FF2B5EF4-FFF2-40B4-BE49-F238E27FC236}">
                    <a16:creationId xmlns:a16="http://schemas.microsoft.com/office/drawing/2014/main" id="{A1DAD0D6-CAFF-1901-9834-C87F54EDDF35}"/>
                  </a:ext>
                </a:extLst>
              </p:cNvPr>
              <p:cNvSpPr/>
              <p:nvPr/>
            </p:nvSpPr>
            <p:spPr>
              <a:xfrm>
                <a:off x="3185524" y="2725182"/>
                <a:ext cx="360000" cy="360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Овал 11">
                <a:extLst>
                  <a:ext uri="{FF2B5EF4-FFF2-40B4-BE49-F238E27FC236}">
                    <a16:creationId xmlns:a16="http://schemas.microsoft.com/office/drawing/2014/main" id="{CFDAFFA9-A70B-EC2C-ED0E-121DFCFE716E}"/>
                  </a:ext>
                </a:extLst>
              </p:cNvPr>
              <p:cNvSpPr/>
              <p:nvPr/>
            </p:nvSpPr>
            <p:spPr>
              <a:xfrm>
                <a:off x="3662415" y="2725182"/>
                <a:ext cx="360000" cy="360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 name="Графіка 7" descr="Walk with solid fill">
              <a:extLst>
                <a:ext uri="{FF2B5EF4-FFF2-40B4-BE49-F238E27FC236}">
                  <a16:creationId xmlns:a16="http://schemas.microsoft.com/office/drawing/2014/main" id="{DE1FCBFB-5783-388A-CBA7-F9AC28AAEF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69315" y="2518811"/>
              <a:ext cx="730146" cy="730146"/>
            </a:xfrm>
            <a:prstGeom prst="rect">
              <a:avLst/>
            </a:prstGeom>
          </p:spPr>
        </p:pic>
        <p:sp>
          <p:nvSpPr>
            <p:cNvPr id="14" name="Прямокутник 10">
              <a:extLst>
                <a:ext uri="{FF2B5EF4-FFF2-40B4-BE49-F238E27FC236}">
                  <a16:creationId xmlns:a16="http://schemas.microsoft.com/office/drawing/2014/main" id="{A12B8F5F-73AA-DDC8-7C1A-C741C13F5715}"/>
                </a:ext>
              </a:extLst>
            </p:cNvPr>
            <p:cNvSpPr/>
            <p:nvPr/>
          </p:nvSpPr>
          <p:spPr>
            <a:xfrm>
              <a:off x="1383405" y="3536335"/>
              <a:ext cx="2101966" cy="2297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735884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sp>
        <p:nvSpPr>
          <p:cNvPr id="8" name="Прямокутник: округлені кути 7">
            <a:extLst>
              <a:ext uri="{FF2B5EF4-FFF2-40B4-BE49-F238E27FC236}">
                <a16:creationId xmlns:a16="http://schemas.microsoft.com/office/drawing/2014/main" id="{B6E55CF3-1DCB-41B9-9E1D-4F6452998DA2}"/>
              </a:ext>
            </a:extLst>
          </p:cNvPr>
          <p:cNvSpPr/>
          <p:nvPr/>
        </p:nvSpPr>
        <p:spPr>
          <a:xfrm>
            <a:off x="183889" y="108556"/>
            <a:ext cx="3600000" cy="360000"/>
          </a:xfrm>
          <a:prstGeom prst="roundRec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tx1"/>
                </a:solidFill>
                <a:latin typeface="+mj-lt"/>
                <a:ea typeface="Roboto Black" panose="02000000000000000000" pitchFamily="2" charset="0"/>
              </a:rPr>
              <a:t>Презентація для великої аудиторії</a:t>
            </a:r>
          </a:p>
        </p:txBody>
      </p:sp>
      <p:sp>
        <p:nvSpPr>
          <p:cNvPr id="10" name="Прямокутник: округлені кути 9">
            <a:extLst>
              <a:ext uri="{FF2B5EF4-FFF2-40B4-BE49-F238E27FC236}">
                <a16:creationId xmlns:a16="http://schemas.microsoft.com/office/drawing/2014/main" id="{958A0CEC-34F8-4361-BB5F-772CBFF79C9D}"/>
              </a:ext>
            </a:extLst>
          </p:cNvPr>
          <p:cNvSpPr/>
          <p:nvPr/>
        </p:nvSpPr>
        <p:spPr>
          <a:xfrm>
            <a:off x="4026000" y="108556"/>
            <a:ext cx="4140000"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bg1">
                    <a:lumMod val="75000"/>
                  </a:schemeClr>
                </a:solidFill>
                <a:latin typeface="+mj-lt"/>
                <a:ea typeface="Roboto Black" panose="02000000000000000000" pitchFamily="2" charset="0"/>
              </a:rPr>
              <a:t>Презентація для невеликої аудиторії / онлайну</a:t>
            </a:r>
          </a:p>
        </p:txBody>
      </p:sp>
      <p:sp>
        <p:nvSpPr>
          <p:cNvPr id="11" name="Прямокутник: округлені кути 10">
            <a:extLst>
              <a:ext uri="{FF2B5EF4-FFF2-40B4-BE49-F238E27FC236}">
                <a16:creationId xmlns:a16="http://schemas.microsoft.com/office/drawing/2014/main" id="{AA141141-CB49-4A2A-90BF-F17692BA895D}"/>
              </a:ext>
            </a:extLst>
          </p:cNvPr>
          <p:cNvSpPr/>
          <p:nvPr/>
        </p:nvSpPr>
        <p:spPr>
          <a:xfrm>
            <a:off x="8408111" y="108556"/>
            <a:ext cx="3600000"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bg1">
                    <a:lumMod val="75000"/>
                  </a:schemeClr>
                </a:solidFill>
                <a:latin typeface="+mj-lt"/>
                <a:ea typeface="Roboto Black" panose="02000000000000000000" pitchFamily="2" charset="0"/>
              </a:rPr>
              <a:t>Презентація для самостійного читання </a:t>
            </a:r>
          </a:p>
        </p:txBody>
      </p:sp>
      <p:sp>
        <p:nvSpPr>
          <p:cNvPr id="3" name="Знак множення 2">
            <a:extLst>
              <a:ext uri="{FF2B5EF4-FFF2-40B4-BE49-F238E27FC236}">
                <a16:creationId xmlns:a16="http://schemas.microsoft.com/office/drawing/2014/main" id="{7F32AC59-6D1F-4EB0-A4C2-74C00E4267C7}"/>
              </a:ext>
            </a:extLst>
          </p:cNvPr>
          <p:cNvSpPr/>
          <p:nvPr/>
        </p:nvSpPr>
        <p:spPr>
          <a:xfrm>
            <a:off x="183889" y="6408000"/>
            <a:ext cx="360000" cy="360000"/>
          </a:xfrm>
          <a:prstGeom prst="mathMultiply">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Прямокутник: округлені кути 12">
            <a:extLst>
              <a:ext uri="{FF2B5EF4-FFF2-40B4-BE49-F238E27FC236}">
                <a16:creationId xmlns:a16="http://schemas.microsoft.com/office/drawing/2014/main" id="{E5FB0CCA-A932-4067-8B25-762A9ACAA94A}"/>
              </a:ext>
            </a:extLst>
          </p:cNvPr>
          <p:cNvSpPr/>
          <p:nvPr/>
        </p:nvSpPr>
        <p:spPr>
          <a:xfrm>
            <a:off x="543889" y="6408000"/>
            <a:ext cx="2952844" cy="36000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200" dirty="0">
                <a:solidFill>
                  <a:schemeClr val="tx1"/>
                </a:solidFill>
                <a:latin typeface="+mj-lt"/>
                <a:ea typeface="Roboto Black" panose="02000000000000000000" pitchFamily="2" charset="0"/>
              </a:rPr>
              <a:t>Не підходить для кейс-чемпіонатів</a:t>
            </a:r>
          </a:p>
        </p:txBody>
      </p:sp>
      <p:grpSp>
        <p:nvGrpSpPr>
          <p:cNvPr id="30" name="Групувати 29">
            <a:extLst>
              <a:ext uri="{FF2B5EF4-FFF2-40B4-BE49-F238E27FC236}">
                <a16:creationId xmlns:a16="http://schemas.microsoft.com/office/drawing/2014/main" id="{6C543FA6-FB8B-4770-BD29-58C2F24CA31C}"/>
              </a:ext>
            </a:extLst>
          </p:cNvPr>
          <p:cNvGrpSpPr/>
          <p:nvPr/>
        </p:nvGrpSpPr>
        <p:grpSpPr>
          <a:xfrm>
            <a:off x="183889" y="1125494"/>
            <a:ext cx="11824224" cy="4607012"/>
            <a:chOff x="183889" y="981988"/>
            <a:chExt cx="11824224" cy="4607012"/>
          </a:xfrm>
        </p:grpSpPr>
        <p:pic>
          <p:nvPicPr>
            <p:cNvPr id="12" name="Рисунок 11">
              <a:extLst>
                <a:ext uri="{FF2B5EF4-FFF2-40B4-BE49-F238E27FC236}">
                  <a16:creationId xmlns:a16="http://schemas.microsoft.com/office/drawing/2014/main" id="{599BDB2D-5B84-4AEE-B436-F370756FAD26}"/>
                </a:ext>
              </a:extLst>
            </p:cNvPr>
            <p:cNvPicPr>
              <a:picLocks noChangeAspect="1"/>
            </p:cNvPicPr>
            <p:nvPr/>
          </p:nvPicPr>
          <p:blipFill>
            <a:blip r:embed="rId6"/>
            <a:stretch>
              <a:fillRect/>
            </a:stretch>
          </p:blipFill>
          <p:spPr>
            <a:xfrm>
              <a:off x="183889" y="981988"/>
              <a:ext cx="3841558"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9" name="Рисунок 18">
              <a:extLst>
                <a:ext uri="{FF2B5EF4-FFF2-40B4-BE49-F238E27FC236}">
                  <a16:creationId xmlns:a16="http://schemas.microsoft.com/office/drawing/2014/main" id="{DE6F06A8-0E83-4B7F-9044-DD2EE5B4A742}"/>
                </a:ext>
              </a:extLst>
            </p:cNvPr>
            <p:cNvPicPr>
              <a:picLocks noChangeAspect="1"/>
            </p:cNvPicPr>
            <p:nvPr/>
          </p:nvPicPr>
          <p:blipFill>
            <a:blip r:embed="rId7"/>
            <a:stretch>
              <a:fillRect/>
            </a:stretch>
          </p:blipFill>
          <p:spPr>
            <a:xfrm>
              <a:off x="8166555" y="981988"/>
              <a:ext cx="3841558"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1" name="Рисунок 20">
              <a:extLst>
                <a:ext uri="{FF2B5EF4-FFF2-40B4-BE49-F238E27FC236}">
                  <a16:creationId xmlns:a16="http://schemas.microsoft.com/office/drawing/2014/main" id="{FCB3EE87-E69C-400A-97C5-404CDAC228C3}"/>
                </a:ext>
              </a:extLst>
            </p:cNvPr>
            <p:cNvPicPr>
              <a:picLocks noChangeAspect="1"/>
            </p:cNvPicPr>
            <p:nvPr/>
          </p:nvPicPr>
          <p:blipFill>
            <a:blip r:embed="rId8"/>
            <a:stretch>
              <a:fillRect/>
            </a:stretch>
          </p:blipFill>
          <p:spPr>
            <a:xfrm>
              <a:off x="4175222" y="3429000"/>
              <a:ext cx="3841558"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5" name="Рисунок 24">
              <a:extLst>
                <a:ext uri="{FF2B5EF4-FFF2-40B4-BE49-F238E27FC236}">
                  <a16:creationId xmlns:a16="http://schemas.microsoft.com/office/drawing/2014/main" id="{A6927BF2-9FA8-48C0-81B3-3E27C6A4C39F}"/>
                </a:ext>
              </a:extLst>
            </p:cNvPr>
            <p:cNvPicPr>
              <a:picLocks noChangeAspect="1"/>
            </p:cNvPicPr>
            <p:nvPr/>
          </p:nvPicPr>
          <p:blipFill>
            <a:blip r:embed="rId9"/>
            <a:stretch>
              <a:fillRect/>
            </a:stretch>
          </p:blipFill>
          <p:spPr>
            <a:xfrm>
              <a:off x="8166554" y="3429000"/>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7" name="Рисунок 26">
              <a:extLst>
                <a:ext uri="{FF2B5EF4-FFF2-40B4-BE49-F238E27FC236}">
                  <a16:creationId xmlns:a16="http://schemas.microsoft.com/office/drawing/2014/main" id="{CFD5B9DE-DFFD-4A70-A628-BBCC0ECE3020}"/>
                </a:ext>
              </a:extLst>
            </p:cNvPr>
            <p:cNvPicPr>
              <a:picLocks noChangeAspect="1"/>
            </p:cNvPicPr>
            <p:nvPr/>
          </p:nvPicPr>
          <p:blipFill>
            <a:blip r:embed="rId10"/>
            <a:stretch>
              <a:fillRect/>
            </a:stretch>
          </p:blipFill>
          <p:spPr>
            <a:xfrm>
              <a:off x="4175222" y="981988"/>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9" name="Рисунок 28">
              <a:extLst>
                <a:ext uri="{FF2B5EF4-FFF2-40B4-BE49-F238E27FC236}">
                  <a16:creationId xmlns:a16="http://schemas.microsoft.com/office/drawing/2014/main" id="{48D8D629-735F-4DE0-9555-A80D8DC9D93F}"/>
                </a:ext>
              </a:extLst>
            </p:cNvPr>
            <p:cNvPicPr>
              <a:picLocks noChangeAspect="1"/>
            </p:cNvPicPr>
            <p:nvPr/>
          </p:nvPicPr>
          <p:blipFill>
            <a:blip r:embed="rId11"/>
            <a:stretch>
              <a:fillRect/>
            </a:stretch>
          </p:blipFill>
          <p:spPr>
            <a:xfrm>
              <a:off x="183890" y="3429000"/>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sp>
        <p:nvSpPr>
          <p:cNvPr id="32" name="Прямокутник: округлені кути 31">
            <a:extLst>
              <a:ext uri="{FF2B5EF4-FFF2-40B4-BE49-F238E27FC236}">
                <a16:creationId xmlns:a16="http://schemas.microsoft.com/office/drawing/2014/main" id="{B0DAB712-297F-4F8C-BF6F-70B4380EB7DB}"/>
              </a:ext>
            </a:extLst>
          </p:cNvPr>
          <p:cNvSpPr/>
          <p:nvPr/>
        </p:nvSpPr>
        <p:spPr>
          <a:xfrm>
            <a:off x="8016779" y="6408000"/>
            <a:ext cx="3356579"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tx1"/>
                </a:solidFill>
                <a:latin typeface="+mj-lt"/>
                <a:ea typeface="Roboto Black" panose="02000000000000000000" pitchFamily="2" charset="0"/>
              </a:rPr>
              <a:t>Відео з виступу </a:t>
            </a:r>
            <a:r>
              <a:rPr lang="uk-UA" sz="1200" dirty="0">
                <a:solidFill>
                  <a:schemeClr val="tx1"/>
                </a:solidFill>
                <a:latin typeface="+mj-lt"/>
                <a:ea typeface="Roboto Black" panose="02000000000000000000" pitchFamily="2" charset="0"/>
                <a:hlinkClick r:id="rId12"/>
              </a:rPr>
              <a:t>тут</a:t>
            </a:r>
            <a:r>
              <a:rPr lang="uk-UA" sz="1200" dirty="0">
                <a:solidFill>
                  <a:schemeClr val="tx1"/>
                </a:solidFill>
                <a:latin typeface="+mj-lt"/>
                <a:ea typeface="Roboto Black" panose="02000000000000000000" pitchFamily="2" charset="0"/>
              </a:rPr>
              <a:t>, а презентація </a:t>
            </a:r>
            <a:r>
              <a:rPr lang="uk-UA" sz="1200" dirty="0">
                <a:solidFill>
                  <a:schemeClr val="tx1"/>
                </a:solidFill>
                <a:latin typeface="+mj-lt"/>
                <a:ea typeface="Roboto Black" panose="02000000000000000000" pitchFamily="2" charset="0"/>
                <a:hlinkClick r:id="rId13"/>
              </a:rPr>
              <a:t>тут</a:t>
            </a:r>
            <a:endParaRPr lang="uk-UA" sz="1200" dirty="0">
              <a:solidFill>
                <a:schemeClr val="tx1"/>
              </a:solidFill>
              <a:latin typeface="+mj-lt"/>
              <a:ea typeface="Roboto Black" panose="02000000000000000000" pitchFamily="2" charset="0"/>
            </a:endParaRPr>
          </a:p>
        </p:txBody>
      </p:sp>
    </p:spTree>
    <p:extLst>
      <p:ext uri="{BB962C8B-B14F-4D97-AF65-F5344CB8AC3E}">
        <p14:creationId xmlns:p14="http://schemas.microsoft.com/office/powerpoint/2010/main" val="22845928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1ACAC15C-A918-7289-280A-A6B175F570AE}"/>
              </a:ext>
            </a:extLst>
          </p:cNvPr>
          <p:cNvSpPr>
            <a:spLocks noGrp="1"/>
          </p:cNvSpPr>
          <p:nvPr>
            <p:ph type="body" sz="quarter" idx="10"/>
          </p:nvPr>
        </p:nvSpPr>
        <p:spPr/>
        <p:txBody>
          <a:bodyPr/>
          <a:lstStyle/>
          <a:p>
            <a:r>
              <a:rPr lang="ru-RU" dirty="0" err="1">
                <a:solidFill>
                  <a:schemeClr val="accent5"/>
                </a:solidFill>
              </a:rPr>
              <a:t>Наповненість</a:t>
            </a:r>
            <a:r>
              <a:rPr lang="ru-RU" dirty="0">
                <a:solidFill>
                  <a:schemeClr val="accent5"/>
                </a:solidFill>
              </a:rPr>
              <a:t> </a:t>
            </a:r>
            <a:r>
              <a:rPr lang="ru-RU" dirty="0" err="1">
                <a:solidFill>
                  <a:schemeClr val="accent5"/>
                </a:solidFill>
              </a:rPr>
              <a:t>слайдів</a:t>
            </a:r>
            <a:r>
              <a:rPr lang="ru-RU" dirty="0">
                <a:solidFill>
                  <a:schemeClr val="accent1"/>
                </a:solidFill>
              </a:rPr>
              <a:t> </a:t>
            </a:r>
            <a:r>
              <a:rPr lang="ru-RU" dirty="0" err="1">
                <a:solidFill>
                  <a:schemeClr val="accent1"/>
                </a:solidFill>
              </a:rPr>
              <a:t>залежить</a:t>
            </a:r>
            <a:r>
              <a:rPr lang="ru-RU" dirty="0">
                <a:solidFill>
                  <a:schemeClr val="accent1"/>
                </a:solidFill>
              </a:rPr>
              <a:t> </a:t>
            </a:r>
            <a:r>
              <a:rPr lang="ru-RU" dirty="0" err="1">
                <a:solidFill>
                  <a:schemeClr val="accent1"/>
                </a:solidFill>
              </a:rPr>
              <a:t>від</a:t>
            </a:r>
            <a:r>
              <a:rPr lang="ru-RU" dirty="0">
                <a:solidFill>
                  <a:schemeClr val="accent1"/>
                </a:solidFill>
              </a:rPr>
              <a:t> того, як буде </a:t>
            </a:r>
            <a:r>
              <a:rPr lang="ru-RU" dirty="0" err="1">
                <a:solidFill>
                  <a:schemeClr val="accent1"/>
                </a:solidFill>
              </a:rPr>
              <a:t>подаватися</a:t>
            </a:r>
            <a:r>
              <a:rPr lang="ru-RU" dirty="0">
                <a:solidFill>
                  <a:schemeClr val="accent1"/>
                </a:solidFill>
              </a:rPr>
              <a:t> контент </a:t>
            </a:r>
            <a:r>
              <a:rPr lang="ru-RU" dirty="0" err="1">
                <a:solidFill>
                  <a:schemeClr val="accent1"/>
                </a:solidFill>
              </a:rPr>
              <a:t>презентації</a:t>
            </a:r>
            <a:endParaRPr lang="ru-UA" dirty="0">
              <a:solidFill>
                <a:schemeClr val="accent1"/>
              </a:solidFill>
            </a:endParaRPr>
          </a:p>
        </p:txBody>
      </p:sp>
      <p:grpSp>
        <p:nvGrpSpPr>
          <p:cNvPr id="18" name="Группа 17">
            <a:extLst>
              <a:ext uri="{FF2B5EF4-FFF2-40B4-BE49-F238E27FC236}">
                <a16:creationId xmlns:a16="http://schemas.microsoft.com/office/drawing/2014/main" id="{5542E877-7DD5-DB9D-8079-922252F75CD4}"/>
              </a:ext>
            </a:extLst>
          </p:cNvPr>
          <p:cNvGrpSpPr/>
          <p:nvPr/>
        </p:nvGrpSpPr>
        <p:grpSpPr>
          <a:xfrm>
            <a:off x="814388" y="2133599"/>
            <a:ext cx="3240000" cy="4356100"/>
            <a:chOff x="4476000" y="1989138"/>
            <a:chExt cx="3240000" cy="4356100"/>
          </a:xfrm>
        </p:grpSpPr>
        <p:sp>
          <p:nvSpPr>
            <p:cNvPr id="19" name="Прямокутник 22">
              <a:extLst>
                <a:ext uri="{FF2B5EF4-FFF2-40B4-BE49-F238E27FC236}">
                  <a16:creationId xmlns:a16="http://schemas.microsoft.com/office/drawing/2014/main" id="{C6A24076-9716-2889-0EB5-927456630A10}"/>
                </a:ext>
              </a:extLst>
            </p:cNvPr>
            <p:cNvSpPr/>
            <p:nvPr/>
          </p:nvSpPr>
          <p:spPr>
            <a:xfrm>
              <a:off x="4476000" y="4007456"/>
              <a:ext cx="3240000" cy="23377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Прямокутник: округлені кути 25">
              <a:extLst>
                <a:ext uri="{FF2B5EF4-FFF2-40B4-BE49-F238E27FC236}">
                  <a16:creationId xmlns:a16="http://schemas.microsoft.com/office/drawing/2014/main" id="{F4882D2A-3ADC-88C0-83B6-FBC2C2B38DA0}"/>
                </a:ext>
              </a:extLst>
            </p:cNvPr>
            <p:cNvSpPr/>
            <p:nvPr/>
          </p:nvSpPr>
          <p:spPr>
            <a:xfrm>
              <a:off x="4566000" y="4134456"/>
              <a:ext cx="3060000" cy="6680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uk-UA" sz="1600" dirty="0">
                  <a:solidFill>
                    <a:schemeClr val="tx1"/>
                  </a:solidFill>
                  <a:latin typeface="+mj-lt"/>
                  <a:ea typeface="Roboto Black" panose="02000000000000000000" pitchFamily="2" charset="0"/>
                </a:rPr>
                <a:t>Презентація для невеликої аудиторії / онлайну</a:t>
              </a:r>
            </a:p>
          </p:txBody>
        </p:sp>
        <p:sp>
          <p:nvSpPr>
            <p:cNvPr id="21" name="Прямокутник 30">
              <a:extLst>
                <a:ext uri="{FF2B5EF4-FFF2-40B4-BE49-F238E27FC236}">
                  <a16:creationId xmlns:a16="http://schemas.microsoft.com/office/drawing/2014/main" id="{A26D0AD7-49E7-9AFD-7662-3EA531D7D1BB}"/>
                </a:ext>
              </a:extLst>
            </p:cNvPr>
            <p:cNvSpPr/>
            <p:nvPr/>
          </p:nvSpPr>
          <p:spPr>
            <a:xfrm>
              <a:off x="4476000" y="1989138"/>
              <a:ext cx="3240000" cy="18320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Прямокутник: округлені кути 33">
              <a:extLst>
                <a:ext uri="{FF2B5EF4-FFF2-40B4-BE49-F238E27FC236}">
                  <a16:creationId xmlns:a16="http://schemas.microsoft.com/office/drawing/2014/main" id="{030568D8-A9D4-5D65-C891-7FA947415A22}"/>
                </a:ext>
              </a:extLst>
            </p:cNvPr>
            <p:cNvSpPr/>
            <p:nvPr/>
          </p:nvSpPr>
          <p:spPr>
            <a:xfrm>
              <a:off x="4566000" y="4802543"/>
              <a:ext cx="3060000" cy="6680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Тези + короткий опис</a:t>
              </a:r>
            </a:p>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Працюють без пояснення</a:t>
              </a:r>
            </a:p>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Фокус на презентації і спікері (спікер взаємодіє з презентацією)</a:t>
              </a:r>
            </a:p>
          </p:txBody>
        </p:sp>
        <p:sp>
          <p:nvSpPr>
            <p:cNvPr id="23" name="Прямокутник 38">
              <a:extLst>
                <a:ext uri="{FF2B5EF4-FFF2-40B4-BE49-F238E27FC236}">
                  <a16:creationId xmlns:a16="http://schemas.microsoft.com/office/drawing/2014/main" id="{40DBEBCD-34CE-9A38-913B-D2C217A20FC2}"/>
                </a:ext>
              </a:extLst>
            </p:cNvPr>
            <p:cNvSpPr/>
            <p:nvPr/>
          </p:nvSpPr>
          <p:spPr>
            <a:xfrm>
              <a:off x="4684052" y="2180109"/>
              <a:ext cx="252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Прямокутник 39">
              <a:extLst>
                <a:ext uri="{FF2B5EF4-FFF2-40B4-BE49-F238E27FC236}">
                  <a16:creationId xmlns:a16="http://schemas.microsoft.com/office/drawing/2014/main" id="{166BE555-FD4A-FA59-8DF0-C8BC3CD67E58}"/>
                </a:ext>
              </a:extLst>
            </p:cNvPr>
            <p:cNvSpPr/>
            <p:nvPr/>
          </p:nvSpPr>
          <p:spPr>
            <a:xfrm>
              <a:off x="4684052" y="2582791"/>
              <a:ext cx="1800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Групувати 11">
              <a:extLst>
                <a:ext uri="{FF2B5EF4-FFF2-40B4-BE49-F238E27FC236}">
                  <a16:creationId xmlns:a16="http://schemas.microsoft.com/office/drawing/2014/main" id="{6183128E-1C7A-3E60-3C1C-FCF0BE4B6EF1}"/>
                </a:ext>
              </a:extLst>
            </p:cNvPr>
            <p:cNvGrpSpPr/>
            <p:nvPr/>
          </p:nvGrpSpPr>
          <p:grpSpPr>
            <a:xfrm>
              <a:off x="4684052" y="3489857"/>
              <a:ext cx="2823897" cy="108000"/>
              <a:chOff x="4791906" y="3489857"/>
              <a:chExt cx="2823897" cy="108000"/>
            </a:xfrm>
          </p:grpSpPr>
          <p:sp>
            <p:nvSpPr>
              <p:cNvPr id="29" name="Прямокутник 40">
                <a:extLst>
                  <a:ext uri="{FF2B5EF4-FFF2-40B4-BE49-F238E27FC236}">
                    <a16:creationId xmlns:a16="http://schemas.microsoft.com/office/drawing/2014/main" id="{47A1FCFE-B09D-C4D4-3481-F56EFBA0A220}"/>
                  </a:ext>
                </a:extLst>
              </p:cNvPr>
              <p:cNvSpPr/>
              <p:nvPr/>
            </p:nvSpPr>
            <p:spPr>
              <a:xfrm>
                <a:off x="4791906" y="3489857"/>
                <a:ext cx="720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Прямокутник 41">
                <a:extLst>
                  <a:ext uri="{FF2B5EF4-FFF2-40B4-BE49-F238E27FC236}">
                    <a16:creationId xmlns:a16="http://schemas.microsoft.com/office/drawing/2014/main" id="{7922B619-86F3-821D-36AE-4C0B0A5CA5E2}"/>
                  </a:ext>
                </a:extLst>
              </p:cNvPr>
              <p:cNvSpPr/>
              <p:nvPr/>
            </p:nvSpPr>
            <p:spPr>
              <a:xfrm>
                <a:off x="5843854" y="3489857"/>
                <a:ext cx="720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Прямокутник 42">
                <a:extLst>
                  <a:ext uri="{FF2B5EF4-FFF2-40B4-BE49-F238E27FC236}">
                    <a16:creationId xmlns:a16="http://schemas.microsoft.com/office/drawing/2014/main" id="{B116061E-AB0A-042B-71CA-CFE6B3940D72}"/>
                  </a:ext>
                </a:extLst>
              </p:cNvPr>
              <p:cNvSpPr/>
              <p:nvPr/>
            </p:nvSpPr>
            <p:spPr>
              <a:xfrm>
                <a:off x="6895803" y="3489857"/>
                <a:ext cx="720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Овал 25">
              <a:extLst>
                <a:ext uri="{FF2B5EF4-FFF2-40B4-BE49-F238E27FC236}">
                  <a16:creationId xmlns:a16="http://schemas.microsoft.com/office/drawing/2014/main" id="{0C476399-3CE1-C29D-F29D-5621C0931198}"/>
                </a:ext>
              </a:extLst>
            </p:cNvPr>
            <p:cNvSpPr/>
            <p:nvPr/>
          </p:nvSpPr>
          <p:spPr>
            <a:xfrm>
              <a:off x="4864052" y="3040206"/>
              <a:ext cx="360000" cy="360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Овал 26">
              <a:extLst>
                <a:ext uri="{FF2B5EF4-FFF2-40B4-BE49-F238E27FC236}">
                  <a16:creationId xmlns:a16="http://schemas.microsoft.com/office/drawing/2014/main" id="{8EA1DA51-2BCC-E144-3DFF-4527A51EA104}"/>
                </a:ext>
              </a:extLst>
            </p:cNvPr>
            <p:cNvSpPr/>
            <p:nvPr/>
          </p:nvSpPr>
          <p:spPr>
            <a:xfrm>
              <a:off x="5916000" y="3040206"/>
              <a:ext cx="360000" cy="360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Овал 27">
              <a:extLst>
                <a:ext uri="{FF2B5EF4-FFF2-40B4-BE49-F238E27FC236}">
                  <a16:creationId xmlns:a16="http://schemas.microsoft.com/office/drawing/2014/main" id="{5C8E4196-4944-E5B0-0228-68A796F59A87}"/>
                </a:ext>
              </a:extLst>
            </p:cNvPr>
            <p:cNvSpPr/>
            <p:nvPr/>
          </p:nvSpPr>
          <p:spPr>
            <a:xfrm>
              <a:off x="6967949" y="3040206"/>
              <a:ext cx="360000" cy="36000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068402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sp>
        <p:nvSpPr>
          <p:cNvPr id="8" name="Прямокутник: округлені кути 7">
            <a:extLst>
              <a:ext uri="{FF2B5EF4-FFF2-40B4-BE49-F238E27FC236}">
                <a16:creationId xmlns:a16="http://schemas.microsoft.com/office/drawing/2014/main" id="{B6E55CF3-1DCB-41B9-9E1D-4F6452998DA2}"/>
              </a:ext>
            </a:extLst>
          </p:cNvPr>
          <p:cNvSpPr/>
          <p:nvPr/>
        </p:nvSpPr>
        <p:spPr>
          <a:xfrm>
            <a:off x="183889" y="108556"/>
            <a:ext cx="3600000"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bg1">
                    <a:lumMod val="75000"/>
                  </a:schemeClr>
                </a:solidFill>
                <a:latin typeface="+mj-lt"/>
                <a:ea typeface="Roboto Black" panose="02000000000000000000" pitchFamily="2" charset="0"/>
              </a:rPr>
              <a:t>Презентація для великої аудиторії</a:t>
            </a:r>
          </a:p>
        </p:txBody>
      </p:sp>
      <p:sp>
        <p:nvSpPr>
          <p:cNvPr id="11" name="Прямокутник: округлені кути 10">
            <a:extLst>
              <a:ext uri="{FF2B5EF4-FFF2-40B4-BE49-F238E27FC236}">
                <a16:creationId xmlns:a16="http://schemas.microsoft.com/office/drawing/2014/main" id="{AA141141-CB49-4A2A-90BF-F17692BA895D}"/>
              </a:ext>
            </a:extLst>
          </p:cNvPr>
          <p:cNvSpPr/>
          <p:nvPr/>
        </p:nvSpPr>
        <p:spPr>
          <a:xfrm>
            <a:off x="8408111" y="108556"/>
            <a:ext cx="3600000"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bg1">
                    <a:lumMod val="75000"/>
                  </a:schemeClr>
                </a:solidFill>
                <a:latin typeface="+mj-lt"/>
                <a:ea typeface="Roboto Black" panose="02000000000000000000" pitchFamily="2" charset="0"/>
              </a:rPr>
              <a:t>Презентація для самостійного читання </a:t>
            </a:r>
          </a:p>
        </p:txBody>
      </p:sp>
      <p:sp>
        <p:nvSpPr>
          <p:cNvPr id="12" name="Знак &quot;плюс&quot; 11">
            <a:extLst>
              <a:ext uri="{FF2B5EF4-FFF2-40B4-BE49-F238E27FC236}">
                <a16:creationId xmlns:a16="http://schemas.microsoft.com/office/drawing/2014/main" id="{A7839ECC-9D3E-4936-BF6C-EA1DD82668CF}"/>
              </a:ext>
            </a:extLst>
          </p:cNvPr>
          <p:cNvSpPr/>
          <p:nvPr/>
        </p:nvSpPr>
        <p:spPr>
          <a:xfrm>
            <a:off x="183889" y="6408000"/>
            <a:ext cx="360000" cy="360000"/>
          </a:xfrm>
          <a:prstGeom prst="mathPlus">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Прямокутник: округлені кути 12">
            <a:extLst>
              <a:ext uri="{FF2B5EF4-FFF2-40B4-BE49-F238E27FC236}">
                <a16:creationId xmlns:a16="http://schemas.microsoft.com/office/drawing/2014/main" id="{982D1B16-2C4D-4DEA-8452-CC1316AA600C}"/>
              </a:ext>
            </a:extLst>
          </p:cNvPr>
          <p:cNvSpPr/>
          <p:nvPr/>
        </p:nvSpPr>
        <p:spPr>
          <a:xfrm>
            <a:off x="543889" y="6408000"/>
            <a:ext cx="2952844" cy="36000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200" dirty="0">
                <a:solidFill>
                  <a:schemeClr val="tx1"/>
                </a:solidFill>
                <a:latin typeface="+mj-lt"/>
                <a:ea typeface="Roboto Black" panose="02000000000000000000" pitchFamily="2" charset="0"/>
              </a:rPr>
              <a:t>Підходить для кейс-чемпіонатів</a:t>
            </a:r>
          </a:p>
        </p:txBody>
      </p:sp>
      <p:grpSp>
        <p:nvGrpSpPr>
          <p:cNvPr id="23" name="Групувати 22">
            <a:extLst>
              <a:ext uri="{FF2B5EF4-FFF2-40B4-BE49-F238E27FC236}">
                <a16:creationId xmlns:a16="http://schemas.microsoft.com/office/drawing/2014/main" id="{EDEB86BB-D2A1-4F0F-8AF3-2C0B5EEE3710}"/>
              </a:ext>
            </a:extLst>
          </p:cNvPr>
          <p:cNvGrpSpPr/>
          <p:nvPr/>
        </p:nvGrpSpPr>
        <p:grpSpPr>
          <a:xfrm>
            <a:off x="183889" y="1125494"/>
            <a:ext cx="11824222" cy="4607012"/>
            <a:chOff x="10087332" y="1125494"/>
            <a:chExt cx="11824222" cy="4607012"/>
          </a:xfrm>
        </p:grpSpPr>
        <p:pic>
          <p:nvPicPr>
            <p:cNvPr id="3" name="Рисунок 2">
              <a:extLst>
                <a:ext uri="{FF2B5EF4-FFF2-40B4-BE49-F238E27FC236}">
                  <a16:creationId xmlns:a16="http://schemas.microsoft.com/office/drawing/2014/main" id="{CA5291E2-D815-4F94-8E58-2E06D38D5327}"/>
                </a:ext>
              </a:extLst>
            </p:cNvPr>
            <p:cNvPicPr>
              <a:picLocks noChangeAspect="1"/>
            </p:cNvPicPr>
            <p:nvPr/>
          </p:nvPicPr>
          <p:blipFill>
            <a:blip r:embed="rId6"/>
            <a:stretch>
              <a:fillRect/>
            </a:stretch>
          </p:blipFill>
          <p:spPr>
            <a:xfrm>
              <a:off x="14078665" y="1125494"/>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6" name="Рисунок 5">
              <a:extLst>
                <a:ext uri="{FF2B5EF4-FFF2-40B4-BE49-F238E27FC236}">
                  <a16:creationId xmlns:a16="http://schemas.microsoft.com/office/drawing/2014/main" id="{C068250C-1907-4317-8558-83B74D292C7F}"/>
                </a:ext>
              </a:extLst>
            </p:cNvPr>
            <p:cNvPicPr>
              <a:picLocks noChangeAspect="1"/>
            </p:cNvPicPr>
            <p:nvPr/>
          </p:nvPicPr>
          <p:blipFill>
            <a:blip r:embed="rId7"/>
            <a:stretch>
              <a:fillRect/>
            </a:stretch>
          </p:blipFill>
          <p:spPr>
            <a:xfrm>
              <a:off x="18069997" y="1125494"/>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6" name="Рисунок 15">
              <a:extLst>
                <a:ext uri="{FF2B5EF4-FFF2-40B4-BE49-F238E27FC236}">
                  <a16:creationId xmlns:a16="http://schemas.microsoft.com/office/drawing/2014/main" id="{FAB64BF2-59CD-4397-A4A0-0E295EDDA95C}"/>
                </a:ext>
              </a:extLst>
            </p:cNvPr>
            <p:cNvPicPr>
              <a:picLocks noChangeAspect="1"/>
            </p:cNvPicPr>
            <p:nvPr/>
          </p:nvPicPr>
          <p:blipFill>
            <a:blip r:embed="rId8"/>
            <a:stretch>
              <a:fillRect/>
            </a:stretch>
          </p:blipFill>
          <p:spPr>
            <a:xfrm>
              <a:off x="10087332" y="3572506"/>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8" name="Рисунок 17">
              <a:extLst>
                <a:ext uri="{FF2B5EF4-FFF2-40B4-BE49-F238E27FC236}">
                  <a16:creationId xmlns:a16="http://schemas.microsoft.com/office/drawing/2014/main" id="{C2C4E9C3-F942-460A-9FCA-7A706024D1BB}"/>
                </a:ext>
              </a:extLst>
            </p:cNvPr>
            <p:cNvPicPr>
              <a:picLocks noChangeAspect="1"/>
            </p:cNvPicPr>
            <p:nvPr/>
          </p:nvPicPr>
          <p:blipFill>
            <a:blip r:embed="rId9"/>
            <a:stretch>
              <a:fillRect/>
            </a:stretch>
          </p:blipFill>
          <p:spPr>
            <a:xfrm>
              <a:off x="14078664" y="3572506"/>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0" name="Рисунок 19">
              <a:extLst>
                <a:ext uri="{FF2B5EF4-FFF2-40B4-BE49-F238E27FC236}">
                  <a16:creationId xmlns:a16="http://schemas.microsoft.com/office/drawing/2014/main" id="{B4ACD830-06DA-4E3C-8407-FBD1EBA01B1E}"/>
                </a:ext>
              </a:extLst>
            </p:cNvPr>
            <p:cNvPicPr>
              <a:picLocks noChangeAspect="1"/>
            </p:cNvPicPr>
            <p:nvPr/>
          </p:nvPicPr>
          <p:blipFill>
            <a:blip r:embed="rId10"/>
            <a:stretch>
              <a:fillRect/>
            </a:stretch>
          </p:blipFill>
          <p:spPr>
            <a:xfrm>
              <a:off x="18069997" y="3572506"/>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2" name="Рисунок 21">
              <a:extLst>
                <a:ext uri="{FF2B5EF4-FFF2-40B4-BE49-F238E27FC236}">
                  <a16:creationId xmlns:a16="http://schemas.microsoft.com/office/drawing/2014/main" id="{56B53514-0EAE-437E-ABFD-ED627D285817}"/>
                </a:ext>
              </a:extLst>
            </p:cNvPr>
            <p:cNvPicPr>
              <a:picLocks noChangeAspect="1"/>
            </p:cNvPicPr>
            <p:nvPr/>
          </p:nvPicPr>
          <p:blipFill>
            <a:blip r:embed="rId11"/>
            <a:stretch>
              <a:fillRect/>
            </a:stretch>
          </p:blipFill>
          <p:spPr>
            <a:xfrm>
              <a:off x="10087332" y="1125494"/>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sp>
        <p:nvSpPr>
          <p:cNvPr id="39" name="Прямокутник: округлені кути 38">
            <a:extLst>
              <a:ext uri="{FF2B5EF4-FFF2-40B4-BE49-F238E27FC236}">
                <a16:creationId xmlns:a16="http://schemas.microsoft.com/office/drawing/2014/main" id="{0B6A00A9-38AB-4404-9515-801CAECACA03}"/>
              </a:ext>
            </a:extLst>
          </p:cNvPr>
          <p:cNvSpPr/>
          <p:nvPr/>
        </p:nvSpPr>
        <p:spPr>
          <a:xfrm>
            <a:off x="4026000" y="108556"/>
            <a:ext cx="4140000" cy="360000"/>
          </a:xfrm>
          <a:prstGeom prst="roundRec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tx1"/>
                </a:solidFill>
                <a:latin typeface="+mj-lt"/>
                <a:ea typeface="Roboto Black" panose="02000000000000000000" pitchFamily="2" charset="0"/>
              </a:rPr>
              <a:t>Презентація для невеликої аудиторії / онлайну</a:t>
            </a:r>
          </a:p>
        </p:txBody>
      </p:sp>
    </p:spTree>
    <p:extLst>
      <p:ext uri="{BB962C8B-B14F-4D97-AF65-F5344CB8AC3E}">
        <p14:creationId xmlns:p14="http://schemas.microsoft.com/office/powerpoint/2010/main" val="5499946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1ACAC15C-A918-7289-280A-A6B175F570AE}"/>
              </a:ext>
            </a:extLst>
          </p:cNvPr>
          <p:cNvSpPr>
            <a:spLocks noGrp="1"/>
          </p:cNvSpPr>
          <p:nvPr>
            <p:ph type="body" sz="quarter" idx="10"/>
          </p:nvPr>
        </p:nvSpPr>
        <p:spPr/>
        <p:txBody>
          <a:bodyPr/>
          <a:lstStyle/>
          <a:p>
            <a:r>
              <a:rPr lang="ru-RU" dirty="0" err="1">
                <a:solidFill>
                  <a:schemeClr val="accent5"/>
                </a:solidFill>
              </a:rPr>
              <a:t>Наповненість</a:t>
            </a:r>
            <a:r>
              <a:rPr lang="ru-RU" dirty="0">
                <a:solidFill>
                  <a:schemeClr val="accent5"/>
                </a:solidFill>
              </a:rPr>
              <a:t> </a:t>
            </a:r>
            <a:r>
              <a:rPr lang="ru-RU" dirty="0" err="1">
                <a:solidFill>
                  <a:schemeClr val="accent5"/>
                </a:solidFill>
              </a:rPr>
              <a:t>слайдів</a:t>
            </a:r>
            <a:r>
              <a:rPr lang="ru-RU" dirty="0">
                <a:solidFill>
                  <a:schemeClr val="accent1"/>
                </a:solidFill>
              </a:rPr>
              <a:t> </a:t>
            </a:r>
            <a:r>
              <a:rPr lang="ru-RU" dirty="0" err="1">
                <a:solidFill>
                  <a:schemeClr val="accent1"/>
                </a:solidFill>
              </a:rPr>
              <a:t>залежить</a:t>
            </a:r>
            <a:r>
              <a:rPr lang="ru-RU" dirty="0">
                <a:solidFill>
                  <a:schemeClr val="accent1"/>
                </a:solidFill>
              </a:rPr>
              <a:t> </a:t>
            </a:r>
            <a:r>
              <a:rPr lang="ru-RU" dirty="0" err="1">
                <a:solidFill>
                  <a:schemeClr val="accent1"/>
                </a:solidFill>
              </a:rPr>
              <a:t>від</a:t>
            </a:r>
            <a:r>
              <a:rPr lang="ru-RU" dirty="0">
                <a:solidFill>
                  <a:schemeClr val="accent1"/>
                </a:solidFill>
              </a:rPr>
              <a:t> того, як буде </a:t>
            </a:r>
            <a:r>
              <a:rPr lang="ru-RU" dirty="0" err="1">
                <a:solidFill>
                  <a:schemeClr val="accent1"/>
                </a:solidFill>
              </a:rPr>
              <a:t>подаватися</a:t>
            </a:r>
            <a:r>
              <a:rPr lang="ru-RU" dirty="0">
                <a:solidFill>
                  <a:schemeClr val="accent1"/>
                </a:solidFill>
              </a:rPr>
              <a:t> контент </a:t>
            </a:r>
            <a:r>
              <a:rPr lang="ru-RU" dirty="0" err="1">
                <a:solidFill>
                  <a:schemeClr val="accent1"/>
                </a:solidFill>
              </a:rPr>
              <a:t>презентації</a:t>
            </a:r>
            <a:endParaRPr lang="ru-UA" dirty="0">
              <a:solidFill>
                <a:schemeClr val="accent1"/>
              </a:solidFill>
            </a:endParaRPr>
          </a:p>
        </p:txBody>
      </p:sp>
      <p:grpSp>
        <p:nvGrpSpPr>
          <p:cNvPr id="3" name="Группа 2">
            <a:extLst>
              <a:ext uri="{FF2B5EF4-FFF2-40B4-BE49-F238E27FC236}">
                <a16:creationId xmlns:a16="http://schemas.microsoft.com/office/drawing/2014/main" id="{BB28743A-76EA-7E17-7C5C-2419C8D0218B}"/>
              </a:ext>
            </a:extLst>
          </p:cNvPr>
          <p:cNvGrpSpPr/>
          <p:nvPr/>
        </p:nvGrpSpPr>
        <p:grpSpPr>
          <a:xfrm>
            <a:off x="814388" y="2133599"/>
            <a:ext cx="3240000" cy="4356100"/>
            <a:chOff x="7968883" y="1989138"/>
            <a:chExt cx="3240000" cy="4356100"/>
          </a:xfrm>
        </p:grpSpPr>
        <p:sp>
          <p:nvSpPr>
            <p:cNvPr id="4" name="Прямокутник 23">
              <a:extLst>
                <a:ext uri="{FF2B5EF4-FFF2-40B4-BE49-F238E27FC236}">
                  <a16:creationId xmlns:a16="http://schemas.microsoft.com/office/drawing/2014/main" id="{4E986946-E684-8CE8-F70E-7F0A9153F851}"/>
                </a:ext>
              </a:extLst>
            </p:cNvPr>
            <p:cNvSpPr/>
            <p:nvPr/>
          </p:nvSpPr>
          <p:spPr>
            <a:xfrm>
              <a:off x="7968883" y="4007456"/>
              <a:ext cx="3240000" cy="23377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Прямокутник: округлені кути 26">
              <a:extLst>
                <a:ext uri="{FF2B5EF4-FFF2-40B4-BE49-F238E27FC236}">
                  <a16:creationId xmlns:a16="http://schemas.microsoft.com/office/drawing/2014/main" id="{88FAE5AC-D6D0-9359-9D4C-E6C74B8F605F}"/>
                </a:ext>
              </a:extLst>
            </p:cNvPr>
            <p:cNvSpPr/>
            <p:nvPr/>
          </p:nvSpPr>
          <p:spPr>
            <a:xfrm>
              <a:off x="8058883" y="4134456"/>
              <a:ext cx="3060000" cy="6680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lang="uk-UA" sz="1600" dirty="0">
                  <a:solidFill>
                    <a:schemeClr val="tx1"/>
                  </a:solidFill>
                  <a:latin typeface="+mj-lt"/>
                  <a:ea typeface="Roboto Black" panose="02000000000000000000" pitchFamily="2" charset="0"/>
                </a:rPr>
                <a:t>Презентація для самостійного читання </a:t>
              </a:r>
            </a:p>
          </p:txBody>
        </p:sp>
        <p:sp>
          <p:nvSpPr>
            <p:cNvPr id="6" name="Прямокутник 31">
              <a:extLst>
                <a:ext uri="{FF2B5EF4-FFF2-40B4-BE49-F238E27FC236}">
                  <a16:creationId xmlns:a16="http://schemas.microsoft.com/office/drawing/2014/main" id="{87D0A73C-B00F-6D47-9639-ABF989F6023D}"/>
                </a:ext>
              </a:extLst>
            </p:cNvPr>
            <p:cNvSpPr/>
            <p:nvPr/>
          </p:nvSpPr>
          <p:spPr>
            <a:xfrm>
              <a:off x="7968883" y="1989138"/>
              <a:ext cx="3240000" cy="18320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Прямокутник: округлені кути 34">
              <a:extLst>
                <a:ext uri="{FF2B5EF4-FFF2-40B4-BE49-F238E27FC236}">
                  <a16:creationId xmlns:a16="http://schemas.microsoft.com/office/drawing/2014/main" id="{C2F64844-A84D-43AF-5485-FB612D4FBDB1}"/>
                </a:ext>
              </a:extLst>
            </p:cNvPr>
            <p:cNvSpPr/>
            <p:nvPr/>
          </p:nvSpPr>
          <p:spPr>
            <a:xfrm>
              <a:off x="8058883" y="4802543"/>
              <a:ext cx="3060000" cy="6680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Тези + повноцінні, детальні описи</a:t>
              </a:r>
            </a:p>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Працюють без пояснення</a:t>
              </a:r>
            </a:p>
            <a:p>
              <a:pPr marL="285750" indent="-285750">
                <a:spcAft>
                  <a:spcPts val="600"/>
                </a:spcAft>
                <a:buFont typeface="Arial" panose="020B0604020202020204" pitchFamily="34" charset="0"/>
                <a:buChar char="•"/>
              </a:pPr>
              <a:r>
                <a:rPr lang="uk-UA" sz="1400" dirty="0">
                  <a:solidFill>
                    <a:schemeClr val="tx1"/>
                  </a:solidFill>
                  <a:ea typeface="Roboto Black" panose="02000000000000000000" pitchFamily="2" charset="0"/>
                </a:rPr>
                <a:t>Фокус виключно на презентації, адже спікера немає</a:t>
              </a:r>
            </a:p>
          </p:txBody>
        </p:sp>
        <p:grpSp>
          <p:nvGrpSpPr>
            <p:cNvPr id="8" name="Групувати 13">
              <a:extLst>
                <a:ext uri="{FF2B5EF4-FFF2-40B4-BE49-F238E27FC236}">
                  <a16:creationId xmlns:a16="http://schemas.microsoft.com/office/drawing/2014/main" id="{1E95105D-9796-ADD6-8410-3FB7F6CFDA56}"/>
                </a:ext>
              </a:extLst>
            </p:cNvPr>
            <p:cNvGrpSpPr/>
            <p:nvPr/>
          </p:nvGrpSpPr>
          <p:grpSpPr>
            <a:xfrm>
              <a:off x="8176935" y="2180109"/>
              <a:ext cx="2520000" cy="510682"/>
              <a:chOff x="8283901" y="2180109"/>
              <a:chExt cx="2520000" cy="510682"/>
            </a:xfrm>
          </p:grpSpPr>
          <p:sp>
            <p:nvSpPr>
              <p:cNvPr id="50" name="Прямокутник 47">
                <a:extLst>
                  <a:ext uri="{FF2B5EF4-FFF2-40B4-BE49-F238E27FC236}">
                    <a16:creationId xmlns:a16="http://schemas.microsoft.com/office/drawing/2014/main" id="{42CD4FBA-827F-9A78-81FD-72D83D8AAA46}"/>
                  </a:ext>
                </a:extLst>
              </p:cNvPr>
              <p:cNvSpPr/>
              <p:nvPr/>
            </p:nvSpPr>
            <p:spPr>
              <a:xfrm>
                <a:off x="8283901" y="2180109"/>
                <a:ext cx="2520000" cy="36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Прямокутник 48">
                <a:extLst>
                  <a:ext uri="{FF2B5EF4-FFF2-40B4-BE49-F238E27FC236}">
                    <a16:creationId xmlns:a16="http://schemas.microsoft.com/office/drawing/2014/main" id="{900A98FD-7873-96D2-399F-CD9B3A7044B6}"/>
                  </a:ext>
                </a:extLst>
              </p:cNvPr>
              <p:cNvSpPr/>
              <p:nvPr/>
            </p:nvSpPr>
            <p:spPr>
              <a:xfrm>
                <a:off x="8283901" y="2582791"/>
                <a:ext cx="2520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Прямокутник 51">
              <a:extLst>
                <a:ext uri="{FF2B5EF4-FFF2-40B4-BE49-F238E27FC236}">
                  <a16:creationId xmlns:a16="http://schemas.microsoft.com/office/drawing/2014/main" id="{6C35DF15-2A52-944D-6D7C-9FB156A72A77}"/>
                </a:ext>
              </a:extLst>
            </p:cNvPr>
            <p:cNvSpPr/>
            <p:nvPr/>
          </p:nvSpPr>
          <p:spPr>
            <a:xfrm>
              <a:off x="8176935" y="2891165"/>
              <a:ext cx="720000" cy="10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Прямокутник 52">
              <a:extLst>
                <a:ext uri="{FF2B5EF4-FFF2-40B4-BE49-F238E27FC236}">
                  <a16:creationId xmlns:a16="http://schemas.microsoft.com/office/drawing/2014/main" id="{4268BE2C-3091-6B23-6978-66515E92949B}"/>
                </a:ext>
              </a:extLst>
            </p:cNvPr>
            <p:cNvSpPr/>
            <p:nvPr/>
          </p:nvSpPr>
          <p:spPr>
            <a:xfrm>
              <a:off x="9228883" y="2891165"/>
              <a:ext cx="720000" cy="10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Прямокутник 55">
              <a:extLst>
                <a:ext uri="{FF2B5EF4-FFF2-40B4-BE49-F238E27FC236}">
                  <a16:creationId xmlns:a16="http://schemas.microsoft.com/office/drawing/2014/main" id="{30010435-F44F-7B2C-C469-20252C50F4CF}"/>
                </a:ext>
              </a:extLst>
            </p:cNvPr>
            <p:cNvSpPr/>
            <p:nvPr/>
          </p:nvSpPr>
          <p:spPr>
            <a:xfrm>
              <a:off x="8176935" y="30614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Прямокутник 56">
              <a:extLst>
                <a:ext uri="{FF2B5EF4-FFF2-40B4-BE49-F238E27FC236}">
                  <a16:creationId xmlns:a16="http://schemas.microsoft.com/office/drawing/2014/main" id="{56D350D9-207F-0D7D-C67A-58EA1E49AD4D}"/>
                </a:ext>
              </a:extLst>
            </p:cNvPr>
            <p:cNvSpPr/>
            <p:nvPr/>
          </p:nvSpPr>
          <p:spPr>
            <a:xfrm>
              <a:off x="9228883" y="30614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Прямокутник 59">
              <a:extLst>
                <a:ext uri="{FF2B5EF4-FFF2-40B4-BE49-F238E27FC236}">
                  <a16:creationId xmlns:a16="http://schemas.microsoft.com/office/drawing/2014/main" id="{66C5388F-379D-76D9-FD4A-32D43B3D1F8B}"/>
                </a:ext>
              </a:extLst>
            </p:cNvPr>
            <p:cNvSpPr/>
            <p:nvPr/>
          </p:nvSpPr>
          <p:spPr>
            <a:xfrm>
              <a:off x="8176935" y="31597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Прямокутник 60">
              <a:extLst>
                <a:ext uri="{FF2B5EF4-FFF2-40B4-BE49-F238E27FC236}">
                  <a16:creationId xmlns:a16="http://schemas.microsoft.com/office/drawing/2014/main" id="{5688B5B9-4C40-82BD-6C08-C71A76A505BB}"/>
                </a:ext>
              </a:extLst>
            </p:cNvPr>
            <p:cNvSpPr/>
            <p:nvPr/>
          </p:nvSpPr>
          <p:spPr>
            <a:xfrm>
              <a:off x="9228883" y="31597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Прямокутник 63">
              <a:extLst>
                <a:ext uri="{FF2B5EF4-FFF2-40B4-BE49-F238E27FC236}">
                  <a16:creationId xmlns:a16="http://schemas.microsoft.com/office/drawing/2014/main" id="{D729C1C8-C546-00C2-4727-6504FB376A57}"/>
                </a:ext>
              </a:extLst>
            </p:cNvPr>
            <p:cNvSpPr/>
            <p:nvPr/>
          </p:nvSpPr>
          <p:spPr>
            <a:xfrm>
              <a:off x="8176935" y="32580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Прямокутник 64">
              <a:extLst>
                <a:ext uri="{FF2B5EF4-FFF2-40B4-BE49-F238E27FC236}">
                  <a16:creationId xmlns:a16="http://schemas.microsoft.com/office/drawing/2014/main" id="{D923D8F6-B8E9-798E-318E-7BBB2CC3631F}"/>
                </a:ext>
              </a:extLst>
            </p:cNvPr>
            <p:cNvSpPr/>
            <p:nvPr/>
          </p:nvSpPr>
          <p:spPr>
            <a:xfrm>
              <a:off x="9228883" y="32580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Прямокутник 67">
              <a:extLst>
                <a:ext uri="{FF2B5EF4-FFF2-40B4-BE49-F238E27FC236}">
                  <a16:creationId xmlns:a16="http://schemas.microsoft.com/office/drawing/2014/main" id="{C2CC83AE-0371-763A-7210-C72060315F4D}"/>
                </a:ext>
              </a:extLst>
            </p:cNvPr>
            <p:cNvSpPr/>
            <p:nvPr/>
          </p:nvSpPr>
          <p:spPr>
            <a:xfrm>
              <a:off x="8176935" y="33563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Прямокутник 68">
              <a:extLst>
                <a:ext uri="{FF2B5EF4-FFF2-40B4-BE49-F238E27FC236}">
                  <a16:creationId xmlns:a16="http://schemas.microsoft.com/office/drawing/2014/main" id="{6EE3436F-6267-908E-216E-414FDAF1EB0E}"/>
                </a:ext>
              </a:extLst>
            </p:cNvPr>
            <p:cNvSpPr/>
            <p:nvPr/>
          </p:nvSpPr>
          <p:spPr>
            <a:xfrm>
              <a:off x="9228883" y="33563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Прямокутник 71">
              <a:extLst>
                <a:ext uri="{FF2B5EF4-FFF2-40B4-BE49-F238E27FC236}">
                  <a16:creationId xmlns:a16="http://schemas.microsoft.com/office/drawing/2014/main" id="{B44AA2B2-C830-D30D-C5EA-80A4FCE6C8FB}"/>
                </a:ext>
              </a:extLst>
            </p:cNvPr>
            <p:cNvSpPr/>
            <p:nvPr/>
          </p:nvSpPr>
          <p:spPr>
            <a:xfrm>
              <a:off x="8176935" y="34546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Прямокутник 72">
              <a:extLst>
                <a:ext uri="{FF2B5EF4-FFF2-40B4-BE49-F238E27FC236}">
                  <a16:creationId xmlns:a16="http://schemas.microsoft.com/office/drawing/2014/main" id="{F5E0D38F-6790-AB67-347D-29EF0A101F2B}"/>
                </a:ext>
              </a:extLst>
            </p:cNvPr>
            <p:cNvSpPr/>
            <p:nvPr/>
          </p:nvSpPr>
          <p:spPr>
            <a:xfrm>
              <a:off x="9228883" y="34546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Прямокутник 75">
              <a:extLst>
                <a:ext uri="{FF2B5EF4-FFF2-40B4-BE49-F238E27FC236}">
                  <a16:creationId xmlns:a16="http://schemas.microsoft.com/office/drawing/2014/main" id="{E5EDEFBC-B575-B720-ADA6-34C8B6C77D94}"/>
                </a:ext>
              </a:extLst>
            </p:cNvPr>
            <p:cNvSpPr/>
            <p:nvPr/>
          </p:nvSpPr>
          <p:spPr>
            <a:xfrm>
              <a:off x="8176935" y="35529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Прямокутник 76">
              <a:extLst>
                <a:ext uri="{FF2B5EF4-FFF2-40B4-BE49-F238E27FC236}">
                  <a16:creationId xmlns:a16="http://schemas.microsoft.com/office/drawing/2014/main" id="{1A9F352C-BF6C-485C-AFC5-10F6F2EACF0E}"/>
                </a:ext>
              </a:extLst>
            </p:cNvPr>
            <p:cNvSpPr/>
            <p:nvPr/>
          </p:nvSpPr>
          <p:spPr>
            <a:xfrm>
              <a:off x="9228883" y="3552965"/>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Прямокутник 79">
              <a:extLst>
                <a:ext uri="{FF2B5EF4-FFF2-40B4-BE49-F238E27FC236}">
                  <a16:creationId xmlns:a16="http://schemas.microsoft.com/office/drawing/2014/main" id="{AEBF9424-67AF-A33E-51EA-EF0D5040D92E}"/>
                </a:ext>
              </a:extLst>
            </p:cNvPr>
            <p:cNvSpPr/>
            <p:nvPr/>
          </p:nvSpPr>
          <p:spPr>
            <a:xfrm>
              <a:off x="8176935" y="3651262"/>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Прямокутник 80">
              <a:extLst>
                <a:ext uri="{FF2B5EF4-FFF2-40B4-BE49-F238E27FC236}">
                  <a16:creationId xmlns:a16="http://schemas.microsoft.com/office/drawing/2014/main" id="{715BDD50-1D84-AD21-2ABF-A2C06D66E13E}"/>
                </a:ext>
              </a:extLst>
            </p:cNvPr>
            <p:cNvSpPr/>
            <p:nvPr/>
          </p:nvSpPr>
          <p:spPr>
            <a:xfrm>
              <a:off x="9228883" y="3651262"/>
              <a:ext cx="72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Групувати 18">
              <a:extLst>
                <a:ext uri="{FF2B5EF4-FFF2-40B4-BE49-F238E27FC236}">
                  <a16:creationId xmlns:a16="http://schemas.microsoft.com/office/drawing/2014/main" id="{68EE3ED6-9561-641F-0B87-527C49F1CEE9}"/>
                </a:ext>
              </a:extLst>
            </p:cNvPr>
            <p:cNvGrpSpPr/>
            <p:nvPr/>
          </p:nvGrpSpPr>
          <p:grpSpPr>
            <a:xfrm>
              <a:off x="10350340" y="3077469"/>
              <a:ext cx="161925" cy="593789"/>
              <a:chOff x="10496933" y="2891165"/>
              <a:chExt cx="161925" cy="796097"/>
            </a:xfrm>
          </p:grpSpPr>
          <p:cxnSp>
            <p:nvCxnSpPr>
              <p:cNvPr id="48" name="Пряма зі стрілкою 15">
                <a:extLst>
                  <a:ext uri="{FF2B5EF4-FFF2-40B4-BE49-F238E27FC236}">
                    <a16:creationId xmlns:a16="http://schemas.microsoft.com/office/drawing/2014/main" id="{9FD1A9FC-DF17-B8DB-6CF3-B1CC607B670A}"/>
                  </a:ext>
                </a:extLst>
              </p:cNvPr>
              <p:cNvCxnSpPr>
                <a:cxnSpLocks/>
              </p:cNvCxnSpPr>
              <p:nvPr/>
            </p:nvCxnSpPr>
            <p:spPr>
              <a:xfrm>
                <a:off x="10496933" y="2891165"/>
                <a:ext cx="0" cy="796097"/>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Пряма зі стрілкою 82">
                <a:extLst>
                  <a:ext uri="{FF2B5EF4-FFF2-40B4-BE49-F238E27FC236}">
                    <a16:creationId xmlns:a16="http://schemas.microsoft.com/office/drawing/2014/main" id="{630F693D-894E-51D0-2A7F-A56253788F15}"/>
                  </a:ext>
                </a:extLst>
              </p:cNvPr>
              <p:cNvCxnSpPr>
                <a:cxnSpLocks/>
              </p:cNvCxnSpPr>
              <p:nvPr/>
            </p:nvCxnSpPr>
            <p:spPr>
              <a:xfrm flipH="1" flipV="1">
                <a:off x="10658858" y="2891165"/>
                <a:ext cx="0" cy="796097"/>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0" name="Прямокутник 84">
              <a:extLst>
                <a:ext uri="{FF2B5EF4-FFF2-40B4-BE49-F238E27FC236}">
                  <a16:creationId xmlns:a16="http://schemas.microsoft.com/office/drawing/2014/main" id="{7E7A7EF7-B7E4-D7CF-3EC7-197E2FF7F6FA}"/>
                </a:ext>
              </a:extLst>
            </p:cNvPr>
            <p:cNvSpPr/>
            <p:nvPr/>
          </p:nvSpPr>
          <p:spPr>
            <a:xfrm>
              <a:off x="10280831" y="2891165"/>
              <a:ext cx="720000" cy="1080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Прямокутник 87">
              <a:extLst>
                <a:ext uri="{FF2B5EF4-FFF2-40B4-BE49-F238E27FC236}">
                  <a16:creationId xmlns:a16="http://schemas.microsoft.com/office/drawing/2014/main" id="{21AB2764-5DBA-0B2E-95B5-5C6E43359B77}"/>
                </a:ext>
              </a:extLst>
            </p:cNvPr>
            <p:cNvSpPr/>
            <p:nvPr/>
          </p:nvSpPr>
          <p:spPr>
            <a:xfrm>
              <a:off x="10640093" y="3061465"/>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Прямокутник 88">
              <a:extLst>
                <a:ext uri="{FF2B5EF4-FFF2-40B4-BE49-F238E27FC236}">
                  <a16:creationId xmlns:a16="http://schemas.microsoft.com/office/drawing/2014/main" id="{3311BE39-1235-BA08-3DBD-DE0ACF40F877}"/>
                </a:ext>
              </a:extLst>
            </p:cNvPr>
            <p:cNvSpPr/>
            <p:nvPr/>
          </p:nvSpPr>
          <p:spPr>
            <a:xfrm>
              <a:off x="10640093" y="3159765"/>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Прямокутник 89">
              <a:extLst>
                <a:ext uri="{FF2B5EF4-FFF2-40B4-BE49-F238E27FC236}">
                  <a16:creationId xmlns:a16="http://schemas.microsoft.com/office/drawing/2014/main" id="{B5EB82C6-F7DE-3AB8-D530-ECC60CC99EE4}"/>
                </a:ext>
              </a:extLst>
            </p:cNvPr>
            <p:cNvSpPr/>
            <p:nvPr/>
          </p:nvSpPr>
          <p:spPr>
            <a:xfrm>
              <a:off x="10640093" y="3258065"/>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Прямокутник 90">
              <a:extLst>
                <a:ext uri="{FF2B5EF4-FFF2-40B4-BE49-F238E27FC236}">
                  <a16:creationId xmlns:a16="http://schemas.microsoft.com/office/drawing/2014/main" id="{EBE53013-A4BD-110C-8B69-A2B11520582B}"/>
                </a:ext>
              </a:extLst>
            </p:cNvPr>
            <p:cNvSpPr/>
            <p:nvPr/>
          </p:nvSpPr>
          <p:spPr>
            <a:xfrm>
              <a:off x="10640093" y="3356365"/>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Прямокутник 91">
              <a:extLst>
                <a:ext uri="{FF2B5EF4-FFF2-40B4-BE49-F238E27FC236}">
                  <a16:creationId xmlns:a16="http://schemas.microsoft.com/office/drawing/2014/main" id="{8895FB8C-4177-92BB-B599-6B2C29F020A5}"/>
                </a:ext>
              </a:extLst>
            </p:cNvPr>
            <p:cNvSpPr/>
            <p:nvPr/>
          </p:nvSpPr>
          <p:spPr>
            <a:xfrm>
              <a:off x="10640093" y="3454665"/>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Прямокутник 92">
              <a:extLst>
                <a:ext uri="{FF2B5EF4-FFF2-40B4-BE49-F238E27FC236}">
                  <a16:creationId xmlns:a16="http://schemas.microsoft.com/office/drawing/2014/main" id="{71A7139E-7E92-409E-4984-C6CF675C62D3}"/>
                </a:ext>
              </a:extLst>
            </p:cNvPr>
            <p:cNvSpPr/>
            <p:nvPr/>
          </p:nvSpPr>
          <p:spPr>
            <a:xfrm>
              <a:off x="10640093" y="3552965"/>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Прямокутник 93">
              <a:extLst>
                <a:ext uri="{FF2B5EF4-FFF2-40B4-BE49-F238E27FC236}">
                  <a16:creationId xmlns:a16="http://schemas.microsoft.com/office/drawing/2014/main" id="{DBBB2200-7A14-178D-5D94-95B4D3E11598}"/>
                </a:ext>
              </a:extLst>
            </p:cNvPr>
            <p:cNvSpPr/>
            <p:nvPr/>
          </p:nvSpPr>
          <p:spPr>
            <a:xfrm>
              <a:off x="10640093" y="3651262"/>
              <a:ext cx="360000" cy="360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418216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sp>
        <p:nvSpPr>
          <p:cNvPr id="8" name="Прямокутник: округлені кути 7">
            <a:extLst>
              <a:ext uri="{FF2B5EF4-FFF2-40B4-BE49-F238E27FC236}">
                <a16:creationId xmlns:a16="http://schemas.microsoft.com/office/drawing/2014/main" id="{B6E55CF3-1DCB-41B9-9E1D-4F6452998DA2}"/>
              </a:ext>
            </a:extLst>
          </p:cNvPr>
          <p:cNvSpPr/>
          <p:nvPr/>
        </p:nvSpPr>
        <p:spPr>
          <a:xfrm>
            <a:off x="183889" y="108556"/>
            <a:ext cx="3600000"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bg1">
                    <a:lumMod val="75000"/>
                  </a:schemeClr>
                </a:solidFill>
                <a:latin typeface="+mj-lt"/>
                <a:ea typeface="Roboto Black" panose="02000000000000000000" pitchFamily="2" charset="0"/>
              </a:rPr>
              <a:t>Презентація для великої аудиторії</a:t>
            </a:r>
          </a:p>
        </p:txBody>
      </p:sp>
      <p:sp>
        <p:nvSpPr>
          <p:cNvPr id="11" name="Прямокутник: округлені кути 10">
            <a:extLst>
              <a:ext uri="{FF2B5EF4-FFF2-40B4-BE49-F238E27FC236}">
                <a16:creationId xmlns:a16="http://schemas.microsoft.com/office/drawing/2014/main" id="{AA141141-CB49-4A2A-90BF-F17692BA895D}"/>
              </a:ext>
            </a:extLst>
          </p:cNvPr>
          <p:cNvSpPr/>
          <p:nvPr/>
        </p:nvSpPr>
        <p:spPr>
          <a:xfrm>
            <a:off x="8408111" y="108556"/>
            <a:ext cx="3600000" cy="360000"/>
          </a:xfrm>
          <a:prstGeom prst="roundRect">
            <a:avLst>
              <a:gd name="adj" fmla="val 5000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tx1"/>
                </a:solidFill>
                <a:latin typeface="+mj-lt"/>
                <a:ea typeface="Roboto Black" panose="02000000000000000000" pitchFamily="2" charset="0"/>
              </a:rPr>
              <a:t>Презентація для самостійного читання </a:t>
            </a:r>
          </a:p>
        </p:txBody>
      </p:sp>
      <p:sp>
        <p:nvSpPr>
          <p:cNvPr id="12" name="Знак &quot;плюс&quot; 11">
            <a:extLst>
              <a:ext uri="{FF2B5EF4-FFF2-40B4-BE49-F238E27FC236}">
                <a16:creationId xmlns:a16="http://schemas.microsoft.com/office/drawing/2014/main" id="{656A0C66-AB68-4893-9BCC-5D34EA13804C}"/>
              </a:ext>
            </a:extLst>
          </p:cNvPr>
          <p:cNvSpPr/>
          <p:nvPr/>
        </p:nvSpPr>
        <p:spPr>
          <a:xfrm>
            <a:off x="183889" y="6408000"/>
            <a:ext cx="360000" cy="360000"/>
          </a:xfrm>
          <a:prstGeom prst="mathPlus">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Прямокутник: округлені кути 12">
            <a:extLst>
              <a:ext uri="{FF2B5EF4-FFF2-40B4-BE49-F238E27FC236}">
                <a16:creationId xmlns:a16="http://schemas.microsoft.com/office/drawing/2014/main" id="{CBA72BBF-40E7-4F77-BE53-9A8C52DE5F13}"/>
              </a:ext>
            </a:extLst>
          </p:cNvPr>
          <p:cNvSpPr/>
          <p:nvPr/>
        </p:nvSpPr>
        <p:spPr>
          <a:xfrm>
            <a:off x="543889" y="6408000"/>
            <a:ext cx="3217620" cy="36000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200" dirty="0">
                <a:solidFill>
                  <a:schemeClr val="tx1"/>
                </a:solidFill>
                <a:latin typeface="+mj-lt"/>
                <a:ea typeface="Roboto Black" panose="02000000000000000000" pitchFamily="2" charset="0"/>
              </a:rPr>
              <a:t>Підходить для кейс-чемпіонатів, але може бути забагато інформації</a:t>
            </a:r>
          </a:p>
        </p:txBody>
      </p:sp>
      <p:pic>
        <p:nvPicPr>
          <p:cNvPr id="3" name="Рисунок 2">
            <a:extLst>
              <a:ext uri="{FF2B5EF4-FFF2-40B4-BE49-F238E27FC236}">
                <a16:creationId xmlns:a16="http://schemas.microsoft.com/office/drawing/2014/main" id="{8C28CCF3-D660-4CC5-9460-D6A36F596AAD}"/>
              </a:ext>
            </a:extLst>
          </p:cNvPr>
          <p:cNvPicPr>
            <a:picLocks noChangeAspect="1"/>
          </p:cNvPicPr>
          <p:nvPr/>
        </p:nvPicPr>
        <p:blipFill>
          <a:blip r:embed="rId6"/>
          <a:stretch>
            <a:fillRect/>
          </a:stretch>
        </p:blipFill>
        <p:spPr>
          <a:xfrm>
            <a:off x="183889" y="1125494"/>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6" name="Рисунок 5">
            <a:extLst>
              <a:ext uri="{FF2B5EF4-FFF2-40B4-BE49-F238E27FC236}">
                <a16:creationId xmlns:a16="http://schemas.microsoft.com/office/drawing/2014/main" id="{1AA0D276-31F3-491D-8B9E-7930F45B9205}"/>
              </a:ext>
            </a:extLst>
          </p:cNvPr>
          <p:cNvPicPr>
            <a:picLocks noChangeAspect="1"/>
          </p:cNvPicPr>
          <p:nvPr/>
        </p:nvPicPr>
        <p:blipFill>
          <a:blip r:embed="rId7"/>
          <a:stretch>
            <a:fillRect/>
          </a:stretch>
        </p:blipFill>
        <p:spPr>
          <a:xfrm>
            <a:off x="4175222" y="1125494"/>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4" name="Рисунок 13">
            <a:extLst>
              <a:ext uri="{FF2B5EF4-FFF2-40B4-BE49-F238E27FC236}">
                <a16:creationId xmlns:a16="http://schemas.microsoft.com/office/drawing/2014/main" id="{CCC3A48F-7F20-47CA-93BC-123D900979A5}"/>
              </a:ext>
            </a:extLst>
          </p:cNvPr>
          <p:cNvPicPr>
            <a:picLocks noChangeAspect="1"/>
          </p:cNvPicPr>
          <p:nvPr/>
        </p:nvPicPr>
        <p:blipFill>
          <a:blip r:embed="rId8"/>
          <a:stretch>
            <a:fillRect/>
          </a:stretch>
        </p:blipFill>
        <p:spPr>
          <a:xfrm>
            <a:off x="8166554" y="1125494"/>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6" name="Рисунок 15">
            <a:extLst>
              <a:ext uri="{FF2B5EF4-FFF2-40B4-BE49-F238E27FC236}">
                <a16:creationId xmlns:a16="http://schemas.microsoft.com/office/drawing/2014/main" id="{1C2258A5-77FB-482B-8275-B7971CAAAB7C}"/>
              </a:ext>
            </a:extLst>
          </p:cNvPr>
          <p:cNvPicPr>
            <a:picLocks noChangeAspect="1"/>
          </p:cNvPicPr>
          <p:nvPr/>
        </p:nvPicPr>
        <p:blipFill>
          <a:blip r:embed="rId9"/>
          <a:stretch>
            <a:fillRect/>
          </a:stretch>
        </p:blipFill>
        <p:spPr>
          <a:xfrm>
            <a:off x="183889" y="3572506"/>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18" name="Рисунок 17">
            <a:extLst>
              <a:ext uri="{FF2B5EF4-FFF2-40B4-BE49-F238E27FC236}">
                <a16:creationId xmlns:a16="http://schemas.microsoft.com/office/drawing/2014/main" id="{85667118-F4E1-4EDF-8C91-1EFEF1A0AAA9}"/>
              </a:ext>
            </a:extLst>
          </p:cNvPr>
          <p:cNvPicPr>
            <a:picLocks noChangeAspect="1"/>
          </p:cNvPicPr>
          <p:nvPr/>
        </p:nvPicPr>
        <p:blipFill>
          <a:blip r:embed="rId10"/>
          <a:stretch>
            <a:fillRect/>
          </a:stretch>
        </p:blipFill>
        <p:spPr>
          <a:xfrm>
            <a:off x="4175222" y="3572506"/>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0" name="Рисунок 19">
            <a:extLst>
              <a:ext uri="{FF2B5EF4-FFF2-40B4-BE49-F238E27FC236}">
                <a16:creationId xmlns:a16="http://schemas.microsoft.com/office/drawing/2014/main" id="{1523AD0A-F2A3-493A-A950-2175928E8268}"/>
              </a:ext>
            </a:extLst>
          </p:cNvPr>
          <p:cNvPicPr>
            <a:picLocks noChangeAspect="1"/>
          </p:cNvPicPr>
          <p:nvPr/>
        </p:nvPicPr>
        <p:blipFill>
          <a:blip r:embed="rId11"/>
          <a:stretch>
            <a:fillRect/>
          </a:stretch>
        </p:blipFill>
        <p:spPr>
          <a:xfrm>
            <a:off x="8166554" y="3572506"/>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29" name="Прямокутник: округлені кути 28">
            <a:extLst>
              <a:ext uri="{FF2B5EF4-FFF2-40B4-BE49-F238E27FC236}">
                <a16:creationId xmlns:a16="http://schemas.microsoft.com/office/drawing/2014/main" id="{AD9BA66B-CD1F-4105-AEFA-84D2E5D80827}"/>
              </a:ext>
            </a:extLst>
          </p:cNvPr>
          <p:cNvSpPr/>
          <p:nvPr/>
        </p:nvSpPr>
        <p:spPr>
          <a:xfrm>
            <a:off x="8016779" y="6408000"/>
            <a:ext cx="3356579"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tx1"/>
                </a:solidFill>
                <a:latin typeface="+mj-lt"/>
                <a:ea typeface="Roboto Black" panose="02000000000000000000" pitchFamily="2" charset="0"/>
              </a:rPr>
              <a:t>Посилання на презентацію </a:t>
            </a:r>
            <a:r>
              <a:rPr lang="uk-UA" sz="1200" dirty="0">
                <a:solidFill>
                  <a:schemeClr val="tx1"/>
                </a:solidFill>
                <a:latin typeface="+mj-lt"/>
                <a:ea typeface="Roboto Black" panose="02000000000000000000" pitchFamily="2" charset="0"/>
                <a:hlinkClick r:id="rId12"/>
              </a:rPr>
              <a:t>тут</a:t>
            </a:r>
            <a:endParaRPr lang="uk-UA" sz="1200" dirty="0">
              <a:solidFill>
                <a:schemeClr val="tx1"/>
              </a:solidFill>
              <a:latin typeface="+mj-lt"/>
              <a:ea typeface="Roboto Black" panose="02000000000000000000" pitchFamily="2" charset="0"/>
            </a:endParaRPr>
          </a:p>
        </p:txBody>
      </p:sp>
      <p:sp>
        <p:nvSpPr>
          <p:cNvPr id="30" name="Прямокутник: округлені кути 29">
            <a:extLst>
              <a:ext uri="{FF2B5EF4-FFF2-40B4-BE49-F238E27FC236}">
                <a16:creationId xmlns:a16="http://schemas.microsoft.com/office/drawing/2014/main" id="{7EB6448C-C1A8-4C71-85AC-A461E3587DB7}"/>
              </a:ext>
            </a:extLst>
          </p:cNvPr>
          <p:cNvSpPr/>
          <p:nvPr/>
        </p:nvSpPr>
        <p:spPr>
          <a:xfrm>
            <a:off x="4026000" y="108556"/>
            <a:ext cx="4140000" cy="36000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r>
              <a:rPr lang="uk-UA" sz="1200" dirty="0">
                <a:solidFill>
                  <a:schemeClr val="bg1">
                    <a:lumMod val="75000"/>
                  </a:schemeClr>
                </a:solidFill>
                <a:latin typeface="+mj-lt"/>
                <a:ea typeface="Roboto Black" panose="02000000000000000000" pitchFamily="2" charset="0"/>
              </a:rPr>
              <a:t>Презентація для невеликої аудиторії / онлайну</a:t>
            </a:r>
          </a:p>
        </p:txBody>
      </p:sp>
    </p:spTree>
    <p:extLst>
      <p:ext uri="{BB962C8B-B14F-4D97-AF65-F5344CB8AC3E}">
        <p14:creationId xmlns:p14="http://schemas.microsoft.com/office/powerpoint/2010/main" val="617955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54B64-4457-450E-87F9-A52B139EA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1C554B64-4457-450E-87F9-A52B139EA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Прямокутник 13">
            <a:extLst>
              <a:ext uri="{FF2B5EF4-FFF2-40B4-BE49-F238E27FC236}">
                <a16:creationId xmlns:a16="http://schemas.microsoft.com/office/drawing/2014/main" id="{A14FE9C0-B3BB-4470-824A-5C18DF861D38}"/>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sp>
        <p:nvSpPr>
          <p:cNvPr id="2" name="Текст 1">
            <a:extLst>
              <a:ext uri="{FF2B5EF4-FFF2-40B4-BE49-F238E27FC236}">
                <a16:creationId xmlns:a16="http://schemas.microsoft.com/office/drawing/2014/main" id="{B98A5077-16B2-5216-7BF4-892A3FC6E796}"/>
              </a:ext>
            </a:extLst>
          </p:cNvPr>
          <p:cNvSpPr>
            <a:spLocks noGrp="1"/>
          </p:cNvSpPr>
          <p:nvPr>
            <p:ph type="body" sz="quarter" idx="10"/>
          </p:nvPr>
        </p:nvSpPr>
        <p:spPr/>
        <p:txBody>
          <a:bodyPr/>
          <a:lstStyle/>
          <a:p>
            <a:r>
              <a:rPr lang="ru-RU" dirty="0" err="1">
                <a:solidFill>
                  <a:schemeClr val="bg1"/>
                </a:solidFill>
              </a:rPr>
              <a:t>Принципи</a:t>
            </a:r>
            <a:r>
              <a:rPr lang="ru-RU" dirty="0">
                <a:solidFill>
                  <a:schemeClr val="bg1"/>
                </a:solidFill>
              </a:rPr>
              <a:t> </a:t>
            </a:r>
            <a:r>
              <a:rPr lang="ru-RU" dirty="0" err="1">
                <a:solidFill>
                  <a:schemeClr val="bg1"/>
                </a:solidFill>
              </a:rPr>
              <a:t>побудови</a:t>
            </a:r>
            <a:r>
              <a:rPr lang="ru-RU" dirty="0">
                <a:solidFill>
                  <a:schemeClr val="bg1"/>
                </a:solidFill>
              </a:rPr>
              <a:t> </a:t>
            </a:r>
            <a:r>
              <a:rPr lang="ru-RU" dirty="0" err="1">
                <a:solidFill>
                  <a:schemeClr val="bg1"/>
                </a:solidFill>
              </a:rPr>
              <a:t>слайдів</a:t>
            </a:r>
            <a:endParaRPr lang="ru-RU" dirty="0">
              <a:solidFill>
                <a:schemeClr val="bg1"/>
              </a:solidFill>
            </a:endParaRPr>
          </a:p>
        </p:txBody>
      </p:sp>
      <p:pic>
        <p:nvPicPr>
          <p:cNvPr id="3" name="Рисунок 2" descr="Изображение выглядит как человек, рука, темный&#10;&#10;Автоматически созданное описание">
            <a:extLst>
              <a:ext uri="{FF2B5EF4-FFF2-40B4-BE49-F238E27FC236}">
                <a16:creationId xmlns:a16="http://schemas.microsoft.com/office/drawing/2014/main" id="{30E040F5-CDEE-7CFE-AFD9-CAE29B26B0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1399316" y="2468693"/>
            <a:ext cx="5401160" cy="5401160"/>
          </a:xfrm>
          <a:prstGeom prst="rect">
            <a:avLst/>
          </a:prstGeom>
        </p:spPr>
      </p:pic>
      <p:sp>
        <p:nvSpPr>
          <p:cNvPr id="4" name="Овал 3">
            <a:extLst>
              <a:ext uri="{FF2B5EF4-FFF2-40B4-BE49-F238E27FC236}">
                <a16:creationId xmlns:a16="http://schemas.microsoft.com/office/drawing/2014/main" id="{1ECB4A92-CA42-8B12-1424-AB3FA5C7E9A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816014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pic>
        <p:nvPicPr>
          <p:cNvPr id="19" name="Picture 2" descr="Создать мем &quot;Дядя Фёдор копает клад (мем дядя федор, копать, дядя федор  копает)&quot; - Картинки - Meme-arsenal.com">
            <a:extLst>
              <a:ext uri="{FF2B5EF4-FFF2-40B4-BE49-F238E27FC236}">
                <a16:creationId xmlns:a16="http://schemas.microsoft.com/office/drawing/2014/main" id="{A7EC5292-65D5-B87F-2010-EF7F72E5A6F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2917" b="12917"/>
          <a:stretch/>
        </p:blipFill>
        <p:spPr bwMode="auto">
          <a:xfrm>
            <a:off x="0" y="-164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Прямоугольник 19">
            <a:extLst>
              <a:ext uri="{FF2B5EF4-FFF2-40B4-BE49-F238E27FC236}">
                <a16:creationId xmlns:a16="http://schemas.microsoft.com/office/drawing/2014/main" id="{D63672C1-936E-3C0F-2C06-3530EA0B1607}"/>
              </a:ext>
            </a:extLst>
          </p:cNvPr>
          <p:cNvSpPr/>
          <p:nvPr/>
        </p:nvSpPr>
        <p:spPr>
          <a:xfrm>
            <a:off x="737755" y="549275"/>
            <a:ext cx="2452254" cy="5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1. Для </a:t>
            </a:r>
            <a:r>
              <a:rPr lang="ru-RU" dirty="0" err="1">
                <a:solidFill>
                  <a:schemeClr val="accent1"/>
                </a:solidFill>
              </a:rPr>
              <a:t>чого</a:t>
            </a:r>
            <a:endParaRPr lang="ru-RU" dirty="0">
              <a:solidFill>
                <a:schemeClr val="accent1"/>
              </a:solidFill>
            </a:endParaRPr>
          </a:p>
        </p:txBody>
      </p:sp>
      <p:sp>
        <p:nvSpPr>
          <p:cNvPr id="21" name="Овал 20">
            <a:extLst>
              <a:ext uri="{FF2B5EF4-FFF2-40B4-BE49-F238E27FC236}">
                <a16:creationId xmlns:a16="http://schemas.microsoft.com/office/drawing/2014/main" id="{E1A5A71C-5103-7500-6C12-E2E5B2744D21}"/>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4599782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CF2BB424-F0DA-61D3-FABA-A7B73AAE46CF}"/>
              </a:ext>
            </a:extLst>
          </p:cNvPr>
          <p:cNvSpPr>
            <a:spLocks noGrp="1"/>
          </p:cNvSpPr>
          <p:nvPr>
            <p:ph type="body" sz="quarter" idx="10"/>
          </p:nvPr>
        </p:nvSpPr>
        <p:spPr/>
        <p:txBody>
          <a:bodyPr/>
          <a:lstStyle/>
          <a:p>
            <a:r>
              <a:rPr lang="uk-UA" dirty="0">
                <a:solidFill>
                  <a:schemeClr val="accent1"/>
                </a:solidFill>
              </a:rPr>
              <a:t>Без дотримання </a:t>
            </a:r>
            <a:r>
              <a:rPr lang="uk-UA" dirty="0">
                <a:solidFill>
                  <a:schemeClr val="accent5"/>
                </a:solidFill>
              </a:rPr>
              <a:t>5 ключових правил </a:t>
            </a:r>
            <a:r>
              <a:rPr lang="uk-UA" dirty="0">
                <a:solidFill>
                  <a:schemeClr val="accent1"/>
                </a:solidFill>
              </a:rPr>
              <a:t>презентації ніколи не будуть виходити привабливими </a:t>
            </a:r>
            <a:endParaRPr lang="ru-UA" dirty="0">
              <a:solidFill>
                <a:schemeClr val="accent1"/>
              </a:solidFill>
            </a:endParaRPr>
          </a:p>
        </p:txBody>
      </p:sp>
      <p:sp>
        <p:nvSpPr>
          <p:cNvPr id="3" name="Прямокутник 40">
            <a:extLst>
              <a:ext uri="{FF2B5EF4-FFF2-40B4-BE49-F238E27FC236}">
                <a16:creationId xmlns:a16="http://schemas.microsoft.com/office/drawing/2014/main" id="{00C6A584-8CA4-7CCE-87EA-BDD217122069}"/>
              </a:ext>
            </a:extLst>
          </p:cNvPr>
          <p:cNvSpPr/>
          <p:nvPr/>
        </p:nvSpPr>
        <p:spPr>
          <a:xfrm>
            <a:off x="1579506" y="2166938"/>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Контраст </a:t>
            </a:r>
          </a:p>
        </p:txBody>
      </p:sp>
      <p:sp>
        <p:nvSpPr>
          <p:cNvPr id="4" name="Прямокутник: округлені кути 41">
            <a:extLst>
              <a:ext uri="{FF2B5EF4-FFF2-40B4-BE49-F238E27FC236}">
                <a16:creationId xmlns:a16="http://schemas.microsoft.com/office/drawing/2014/main" id="{FBDB22B6-9949-B531-62C6-30D6D4585A6D}"/>
              </a:ext>
            </a:extLst>
          </p:cNvPr>
          <p:cNvSpPr/>
          <p:nvPr/>
        </p:nvSpPr>
        <p:spPr>
          <a:xfrm>
            <a:off x="814388" y="2166938"/>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5" name="Прямокутник: округлені кути 42">
            <a:extLst>
              <a:ext uri="{FF2B5EF4-FFF2-40B4-BE49-F238E27FC236}">
                <a16:creationId xmlns:a16="http://schemas.microsoft.com/office/drawing/2014/main" id="{F3BD04DE-E74D-CB0D-F1FA-A4DB1E071290}"/>
              </a:ext>
            </a:extLst>
          </p:cNvPr>
          <p:cNvSpPr/>
          <p:nvPr/>
        </p:nvSpPr>
        <p:spPr>
          <a:xfrm>
            <a:off x="814388" y="3037799"/>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6" name="Прямокутник: округлені кути 43">
            <a:extLst>
              <a:ext uri="{FF2B5EF4-FFF2-40B4-BE49-F238E27FC236}">
                <a16:creationId xmlns:a16="http://schemas.microsoft.com/office/drawing/2014/main" id="{CC22417C-6EE4-2C8A-2482-FEC467C32A4F}"/>
              </a:ext>
            </a:extLst>
          </p:cNvPr>
          <p:cNvSpPr/>
          <p:nvPr/>
        </p:nvSpPr>
        <p:spPr>
          <a:xfrm>
            <a:off x="814388" y="3908660"/>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7" name="Прямокутник: округлені кути 44">
            <a:extLst>
              <a:ext uri="{FF2B5EF4-FFF2-40B4-BE49-F238E27FC236}">
                <a16:creationId xmlns:a16="http://schemas.microsoft.com/office/drawing/2014/main" id="{69D47825-94B8-0A96-0284-A8EAC59F29CC}"/>
              </a:ext>
            </a:extLst>
          </p:cNvPr>
          <p:cNvSpPr/>
          <p:nvPr/>
        </p:nvSpPr>
        <p:spPr>
          <a:xfrm>
            <a:off x="814388" y="4779520"/>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4</a:t>
            </a:r>
          </a:p>
        </p:txBody>
      </p:sp>
      <p:sp>
        <p:nvSpPr>
          <p:cNvPr id="8" name="Прямокутник 45">
            <a:extLst>
              <a:ext uri="{FF2B5EF4-FFF2-40B4-BE49-F238E27FC236}">
                <a16:creationId xmlns:a16="http://schemas.microsoft.com/office/drawing/2014/main" id="{6462242D-14A8-EF78-01A9-AB0A24D28FC4}"/>
              </a:ext>
            </a:extLst>
          </p:cNvPr>
          <p:cNvSpPr/>
          <p:nvPr/>
        </p:nvSpPr>
        <p:spPr>
          <a:xfrm>
            <a:off x="1579506" y="3037799"/>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800" dirty="0">
                <a:solidFill>
                  <a:schemeClr val="tx1"/>
                </a:solidFill>
                <a:ea typeface="Roboto Black" panose="02000000000000000000" pitchFamily="2" charset="0"/>
              </a:rPr>
              <a:t>Вирівнювання </a:t>
            </a:r>
          </a:p>
        </p:txBody>
      </p:sp>
      <p:sp>
        <p:nvSpPr>
          <p:cNvPr id="9" name="Прямокутник 46">
            <a:extLst>
              <a:ext uri="{FF2B5EF4-FFF2-40B4-BE49-F238E27FC236}">
                <a16:creationId xmlns:a16="http://schemas.microsoft.com/office/drawing/2014/main" id="{410E9422-F94A-4621-63F8-ED67176A0ED2}"/>
              </a:ext>
            </a:extLst>
          </p:cNvPr>
          <p:cNvSpPr/>
          <p:nvPr/>
        </p:nvSpPr>
        <p:spPr>
          <a:xfrm>
            <a:off x="1579507" y="3908660"/>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Повітря</a:t>
            </a:r>
            <a:r>
              <a:rPr lang="ru-RU" sz="1800" dirty="0">
                <a:solidFill>
                  <a:schemeClr val="tx1"/>
                </a:solidFill>
                <a:ea typeface="Roboto Black" panose="02000000000000000000" pitchFamily="2" charset="0"/>
              </a:rPr>
              <a:t> на </a:t>
            </a:r>
            <a:r>
              <a:rPr lang="ru-RU" sz="1800" dirty="0" err="1">
                <a:solidFill>
                  <a:schemeClr val="tx1"/>
                </a:solidFill>
                <a:ea typeface="Roboto Black" panose="02000000000000000000" pitchFamily="2" charset="0"/>
              </a:rPr>
              <a:t>слайді</a:t>
            </a:r>
            <a:endParaRPr lang="ru-RU" sz="1800" dirty="0">
              <a:solidFill>
                <a:schemeClr val="tx1"/>
              </a:solidFill>
              <a:ea typeface="Roboto Black" panose="02000000000000000000" pitchFamily="2" charset="0"/>
            </a:endParaRPr>
          </a:p>
        </p:txBody>
      </p:sp>
      <p:sp>
        <p:nvSpPr>
          <p:cNvPr id="10" name="Прямокутник 47">
            <a:extLst>
              <a:ext uri="{FF2B5EF4-FFF2-40B4-BE49-F238E27FC236}">
                <a16:creationId xmlns:a16="http://schemas.microsoft.com/office/drawing/2014/main" id="{B6A43362-94BC-AB11-16D6-0FA2EE4549EE}"/>
              </a:ext>
            </a:extLst>
          </p:cNvPr>
          <p:cNvSpPr/>
          <p:nvPr/>
        </p:nvSpPr>
        <p:spPr>
          <a:xfrm>
            <a:off x="1579507" y="4779520"/>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Приближеність</a:t>
            </a:r>
            <a:endParaRPr lang="ru-RU" sz="1800" dirty="0">
              <a:solidFill>
                <a:schemeClr val="tx1"/>
              </a:solidFill>
              <a:ea typeface="Roboto Black" panose="02000000000000000000" pitchFamily="2" charset="0"/>
            </a:endParaRPr>
          </a:p>
        </p:txBody>
      </p:sp>
      <p:sp>
        <p:nvSpPr>
          <p:cNvPr id="11" name="Прямокутник: округлені кути 48">
            <a:extLst>
              <a:ext uri="{FF2B5EF4-FFF2-40B4-BE49-F238E27FC236}">
                <a16:creationId xmlns:a16="http://schemas.microsoft.com/office/drawing/2014/main" id="{5A216CC8-A1D3-EDAE-8B5B-84074476AB44}"/>
              </a:ext>
            </a:extLst>
          </p:cNvPr>
          <p:cNvSpPr/>
          <p:nvPr/>
        </p:nvSpPr>
        <p:spPr>
          <a:xfrm>
            <a:off x="814388" y="5650380"/>
            <a:ext cx="540000" cy="54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5</a:t>
            </a:r>
          </a:p>
        </p:txBody>
      </p:sp>
      <p:sp>
        <p:nvSpPr>
          <p:cNvPr id="12" name="Прямокутник 49">
            <a:extLst>
              <a:ext uri="{FF2B5EF4-FFF2-40B4-BE49-F238E27FC236}">
                <a16:creationId xmlns:a16="http://schemas.microsoft.com/office/drawing/2014/main" id="{CEECC6CB-ABA1-3A96-BD71-C7F66AB8E7E5}"/>
              </a:ext>
            </a:extLst>
          </p:cNvPr>
          <p:cNvSpPr/>
          <p:nvPr/>
        </p:nvSpPr>
        <p:spPr>
          <a:xfrm>
            <a:off x="1579507" y="5650380"/>
            <a:ext cx="360000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Повторення</a:t>
            </a:r>
            <a:r>
              <a:rPr lang="ru-RU" sz="1800" dirty="0">
                <a:solidFill>
                  <a:schemeClr val="tx1"/>
                </a:solidFill>
                <a:ea typeface="Roboto Black" panose="02000000000000000000" pitchFamily="2" charset="0"/>
              </a:rPr>
              <a:t> </a:t>
            </a:r>
          </a:p>
        </p:txBody>
      </p:sp>
      <p:pic>
        <p:nvPicPr>
          <p:cNvPr id="13" name="Рисунок 12" descr="Зображення, що містить рукавички, столовий посуд, виделка&#10;&#10;Автоматично згенерований опис">
            <a:extLst>
              <a:ext uri="{FF2B5EF4-FFF2-40B4-BE49-F238E27FC236}">
                <a16:creationId xmlns:a16="http://schemas.microsoft.com/office/drawing/2014/main" id="{053119C0-2BC9-9320-D997-C88D7CAC7F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0038" y="2364982"/>
            <a:ext cx="3627355" cy="3627355"/>
          </a:xfrm>
          <a:prstGeom prst="rect">
            <a:avLst/>
          </a:prstGeom>
        </p:spPr>
      </p:pic>
      <p:sp>
        <p:nvSpPr>
          <p:cNvPr id="14" name="Заголовок 1">
            <a:extLst>
              <a:ext uri="{FF2B5EF4-FFF2-40B4-BE49-F238E27FC236}">
                <a16:creationId xmlns:a16="http://schemas.microsoft.com/office/drawing/2014/main" id="{66402260-5611-4E63-778E-1F415D99A384}"/>
              </a:ext>
            </a:extLst>
          </p:cNvPr>
          <p:cNvSpPr txBox="1">
            <a:spLocks/>
          </p:cNvSpPr>
          <p:nvPr/>
        </p:nvSpPr>
        <p:spPr>
          <a:xfrm rot="20481103">
            <a:off x="5883661" y="4588530"/>
            <a:ext cx="1779692" cy="2572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ru-UA" sz="2400" kern="1200" dirty="0">
                <a:solidFill>
                  <a:schemeClr val="tx1"/>
                </a:solidFill>
                <a:latin typeface="+mj-lt"/>
                <a:ea typeface="+mn-ea"/>
                <a:cs typeface="+mn-cs"/>
              </a:defRPr>
            </a:lvl1pPr>
          </a:lstStyle>
          <a:p>
            <a:pPr algn="ctr"/>
            <a:r>
              <a:rPr lang="uk-UA" sz="1800" dirty="0">
                <a:solidFill>
                  <a:schemeClr val="bg1"/>
                </a:solidFill>
              </a:rPr>
              <a:t>композиція</a:t>
            </a:r>
          </a:p>
        </p:txBody>
      </p:sp>
    </p:spTree>
    <p:extLst>
      <p:ext uri="{BB962C8B-B14F-4D97-AF65-F5344CB8AC3E}">
        <p14:creationId xmlns:p14="http://schemas.microsoft.com/office/powerpoint/2010/main" val="5577037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CF2BB424-F0DA-61D3-FABA-A7B73AAE46CF}"/>
              </a:ext>
            </a:extLst>
          </p:cNvPr>
          <p:cNvSpPr>
            <a:spLocks noGrp="1"/>
          </p:cNvSpPr>
          <p:nvPr>
            <p:ph type="body" sz="quarter" idx="10"/>
          </p:nvPr>
        </p:nvSpPr>
        <p:spPr/>
        <p:txBody>
          <a:bodyPr/>
          <a:lstStyle/>
          <a:p>
            <a:r>
              <a:rPr lang="ru-RU" dirty="0">
                <a:solidFill>
                  <a:schemeClr val="accent1"/>
                </a:solidFill>
              </a:rPr>
              <a:t>Головне на </a:t>
            </a:r>
            <a:r>
              <a:rPr lang="ru-RU" dirty="0" err="1">
                <a:solidFill>
                  <a:schemeClr val="accent1"/>
                </a:solidFill>
              </a:rPr>
              <a:t>слайді</a:t>
            </a:r>
            <a:r>
              <a:rPr lang="ru-RU" dirty="0">
                <a:solidFill>
                  <a:schemeClr val="accent1"/>
                </a:solidFill>
              </a:rPr>
              <a:t> повинно </a:t>
            </a:r>
            <a:r>
              <a:rPr lang="ru-RU" dirty="0" err="1">
                <a:solidFill>
                  <a:schemeClr val="accent5"/>
                </a:solidFill>
              </a:rPr>
              <a:t>одразу</a:t>
            </a:r>
            <a:r>
              <a:rPr lang="ru-RU" dirty="0">
                <a:solidFill>
                  <a:schemeClr val="accent5"/>
                </a:solidFill>
              </a:rPr>
              <a:t> </a:t>
            </a:r>
            <a:r>
              <a:rPr lang="ru-RU" dirty="0" err="1">
                <a:solidFill>
                  <a:schemeClr val="accent5"/>
                </a:solidFill>
              </a:rPr>
              <a:t>кидатися</a:t>
            </a:r>
            <a:r>
              <a:rPr lang="ru-RU" dirty="0">
                <a:solidFill>
                  <a:schemeClr val="accent5"/>
                </a:solidFill>
              </a:rPr>
              <a:t> в око;</a:t>
            </a:r>
            <a:r>
              <a:rPr lang="ru-RU" dirty="0">
                <a:solidFill>
                  <a:schemeClr val="accent1"/>
                </a:solidFill>
              </a:rPr>
              <a:t> для </a:t>
            </a:r>
            <a:r>
              <a:rPr lang="ru-RU" dirty="0" err="1">
                <a:solidFill>
                  <a:schemeClr val="accent1"/>
                </a:solidFill>
              </a:rPr>
              <a:t>цього</a:t>
            </a:r>
            <a:r>
              <a:rPr lang="ru-RU" dirty="0">
                <a:solidFill>
                  <a:schemeClr val="accent1"/>
                </a:solidFill>
              </a:rPr>
              <a:t> </a:t>
            </a:r>
            <a:r>
              <a:rPr lang="ru-RU" dirty="0" err="1">
                <a:solidFill>
                  <a:schemeClr val="accent1"/>
                </a:solidFill>
              </a:rPr>
              <a:t>застосовується</a:t>
            </a:r>
            <a:r>
              <a:rPr lang="ru-RU" dirty="0">
                <a:solidFill>
                  <a:schemeClr val="accent1"/>
                </a:solidFill>
              </a:rPr>
              <a:t> контраст</a:t>
            </a:r>
            <a:endParaRPr lang="ru-UA" dirty="0">
              <a:solidFill>
                <a:schemeClr val="accent1"/>
              </a:solidFill>
            </a:endParaRPr>
          </a:p>
        </p:txBody>
      </p:sp>
      <p:grpSp>
        <p:nvGrpSpPr>
          <p:cNvPr id="38" name="Группа 37">
            <a:extLst>
              <a:ext uri="{FF2B5EF4-FFF2-40B4-BE49-F238E27FC236}">
                <a16:creationId xmlns:a16="http://schemas.microsoft.com/office/drawing/2014/main" id="{1F7CB647-FC1D-8DFF-A883-753D3CFF0C29}"/>
              </a:ext>
            </a:extLst>
          </p:cNvPr>
          <p:cNvGrpSpPr/>
          <p:nvPr/>
        </p:nvGrpSpPr>
        <p:grpSpPr>
          <a:xfrm>
            <a:off x="814388" y="2133600"/>
            <a:ext cx="2520000" cy="4175125"/>
            <a:chOff x="814388" y="2133600"/>
            <a:chExt cx="2520000" cy="4175125"/>
          </a:xfrm>
        </p:grpSpPr>
        <p:sp>
          <p:nvSpPr>
            <p:cNvPr id="15" name="Прямокутник 15">
              <a:extLst>
                <a:ext uri="{FF2B5EF4-FFF2-40B4-BE49-F238E27FC236}">
                  <a16:creationId xmlns:a16="http://schemas.microsoft.com/office/drawing/2014/main" id="{01D13372-8832-B52C-5972-54A74E599C5B}"/>
                </a:ext>
              </a:extLst>
            </p:cNvPr>
            <p:cNvSpPr/>
            <p:nvPr/>
          </p:nvSpPr>
          <p:spPr>
            <a:xfrm>
              <a:off x="814388" y="2133600"/>
              <a:ext cx="2520000" cy="41751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uk-UA" dirty="0">
                  <a:solidFill>
                    <a:schemeClr val="tx1"/>
                  </a:solidFill>
                  <a:latin typeface="+mj-lt"/>
                </a:rPr>
                <a:t>Розмір</a:t>
              </a:r>
              <a:endParaRPr lang="en-US" dirty="0">
                <a:solidFill>
                  <a:schemeClr val="tx1"/>
                </a:solidFill>
                <a:latin typeface="+mj-lt"/>
              </a:endParaRPr>
            </a:p>
          </p:txBody>
        </p:sp>
        <p:grpSp>
          <p:nvGrpSpPr>
            <p:cNvPr id="33" name="Группа 32">
              <a:extLst>
                <a:ext uri="{FF2B5EF4-FFF2-40B4-BE49-F238E27FC236}">
                  <a16:creationId xmlns:a16="http://schemas.microsoft.com/office/drawing/2014/main" id="{AA4E68AB-E703-F4B1-39C6-F2C8345EA84F}"/>
                </a:ext>
              </a:extLst>
            </p:cNvPr>
            <p:cNvGrpSpPr/>
            <p:nvPr/>
          </p:nvGrpSpPr>
          <p:grpSpPr>
            <a:xfrm>
              <a:off x="1534388" y="2583495"/>
              <a:ext cx="1080000" cy="3275334"/>
              <a:chOff x="2062889" y="2529521"/>
              <a:chExt cx="1080000" cy="3275334"/>
            </a:xfrm>
          </p:grpSpPr>
          <p:sp>
            <p:nvSpPr>
              <p:cNvPr id="18" name="Овал 17">
                <a:extLst>
                  <a:ext uri="{FF2B5EF4-FFF2-40B4-BE49-F238E27FC236}">
                    <a16:creationId xmlns:a16="http://schemas.microsoft.com/office/drawing/2014/main" id="{E0A5E9C2-FCB4-377C-CCEF-D6A46441E7F1}"/>
                  </a:ext>
                </a:extLst>
              </p:cNvPr>
              <p:cNvSpPr/>
              <p:nvPr/>
            </p:nvSpPr>
            <p:spPr>
              <a:xfrm>
                <a:off x="2422889" y="2529521"/>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Овал 18">
                <a:extLst>
                  <a:ext uri="{FF2B5EF4-FFF2-40B4-BE49-F238E27FC236}">
                    <a16:creationId xmlns:a16="http://schemas.microsoft.com/office/drawing/2014/main" id="{D43E160C-F08E-FD17-3383-647E5FA9B2A7}"/>
                  </a:ext>
                </a:extLst>
              </p:cNvPr>
              <p:cNvSpPr/>
              <p:nvPr/>
            </p:nvSpPr>
            <p:spPr>
              <a:xfrm>
                <a:off x="2422889" y="3078355"/>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Овал 19">
                <a:extLst>
                  <a:ext uri="{FF2B5EF4-FFF2-40B4-BE49-F238E27FC236}">
                    <a16:creationId xmlns:a16="http://schemas.microsoft.com/office/drawing/2014/main" id="{44760712-39AD-9700-AD82-E99B44C594AF}"/>
                  </a:ext>
                </a:extLst>
              </p:cNvPr>
              <p:cNvSpPr/>
              <p:nvPr/>
            </p:nvSpPr>
            <p:spPr>
              <a:xfrm>
                <a:off x="2062889" y="3627189"/>
                <a:ext cx="1080000" cy="108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Овал 20">
                <a:extLst>
                  <a:ext uri="{FF2B5EF4-FFF2-40B4-BE49-F238E27FC236}">
                    <a16:creationId xmlns:a16="http://schemas.microsoft.com/office/drawing/2014/main" id="{76B4A31D-46C7-7A18-FCF0-64EA29BB31D9}"/>
                  </a:ext>
                </a:extLst>
              </p:cNvPr>
              <p:cNvSpPr/>
              <p:nvPr/>
            </p:nvSpPr>
            <p:spPr>
              <a:xfrm>
                <a:off x="2422889" y="4896023"/>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Овал 21">
                <a:extLst>
                  <a:ext uri="{FF2B5EF4-FFF2-40B4-BE49-F238E27FC236}">
                    <a16:creationId xmlns:a16="http://schemas.microsoft.com/office/drawing/2014/main" id="{A76CEF72-4FA1-7F51-4FC8-5E4D6BDEDE1D}"/>
                  </a:ext>
                </a:extLst>
              </p:cNvPr>
              <p:cNvSpPr/>
              <p:nvPr/>
            </p:nvSpPr>
            <p:spPr>
              <a:xfrm>
                <a:off x="2422889" y="5444855"/>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7" name="Группа 36">
            <a:extLst>
              <a:ext uri="{FF2B5EF4-FFF2-40B4-BE49-F238E27FC236}">
                <a16:creationId xmlns:a16="http://schemas.microsoft.com/office/drawing/2014/main" id="{E12B492C-98E9-67D3-88B1-4D0FC4327E2A}"/>
              </a:ext>
            </a:extLst>
          </p:cNvPr>
          <p:cNvGrpSpPr/>
          <p:nvPr/>
        </p:nvGrpSpPr>
        <p:grpSpPr>
          <a:xfrm>
            <a:off x="3674663" y="2132725"/>
            <a:ext cx="2520000" cy="4176000"/>
            <a:chOff x="3872090" y="2132725"/>
            <a:chExt cx="2520000" cy="4176000"/>
          </a:xfrm>
        </p:grpSpPr>
        <p:sp>
          <p:nvSpPr>
            <p:cNvPr id="16" name="Прямокутник 16">
              <a:extLst>
                <a:ext uri="{FF2B5EF4-FFF2-40B4-BE49-F238E27FC236}">
                  <a16:creationId xmlns:a16="http://schemas.microsoft.com/office/drawing/2014/main" id="{E4E1FAA6-7816-D815-74FF-609AC11DAC18}"/>
                </a:ext>
              </a:extLst>
            </p:cNvPr>
            <p:cNvSpPr/>
            <p:nvPr/>
          </p:nvSpPr>
          <p:spPr>
            <a:xfrm>
              <a:off x="3872090" y="2132725"/>
              <a:ext cx="2520000" cy="41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uk-UA" dirty="0">
                  <a:solidFill>
                    <a:schemeClr val="tx1"/>
                  </a:solidFill>
                  <a:latin typeface="+mj-lt"/>
                </a:rPr>
                <a:t>Колір </a:t>
              </a:r>
              <a:endParaRPr lang="en-US" dirty="0">
                <a:solidFill>
                  <a:schemeClr val="tx1"/>
                </a:solidFill>
                <a:latin typeface="+mj-lt"/>
              </a:endParaRPr>
            </a:p>
          </p:txBody>
        </p:sp>
        <p:grpSp>
          <p:nvGrpSpPr>
            <p:cNvPr id="34" name="Группа 33">
              <a:extLst>
                <a:ext uri="{FF2B5EF4-FFF2-40B4-BE49-F238E27FC236}">
                  <a16:creationId xmlns:a16="http://schemas.microsoft.com/office/drawing/2014/main" id="{09B2C3BC-B693-3423-A62C-0894D72A58E4}"/>
                </a:ext>
              </a:extLst>
            </p:cNvPr>
            <p:cNvGrpSpPr/>
            <p:nvPr/>
          </p:nvGrpSpPr>
          <p:grpSpPr>
            <a:xfrm>
              <a:off x="4952090" y="2583058"/>
              <a:ext cx="360000" cy="3275334"/>
              <a:chOff x="5916000" y="2529521"/>
              <a:chExt cx="360000" cy="3275334"/>
            </a:xfrm>
          </p:grpSpPr>
          <p:sp>
            <p:nvSpPr>
              <p:cNvPr id="23" name="Овал 22">
                <a:extLst>
                  <a:ext uri="{FF2B5EF4-FFF2-40B4-BE49-F238E27FC236}">
                    <a16:creationId xmlns:a16="http://schemas.microsoft.com/office/drawing/2014/main" id="{72F106C3-860B-4155-8D08-3838C038EB52}"/>
                  </a:ext>
                </a:extLst>
              </p:cNvPr>
              <p:cNvSpPr/>
              <p:nvPr/>
            </p:nvSpPr>
            <p:spPr>
              <a:xfrm>
                <a:off x="5916000" y="2529521"/>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Овал 23">
                <a:extLst>
                  <a:ext uri="{FF2B5EF4-FFF2-40B4-BE49-F238E27FC236}">
                    <a16:creationId xmlns:a16="http://schemas.microsoft.com/office/drawing/2014/main" id="{63BEDDC6-1E15-BA82-660B-2B4D56F9459C}"/>
                  </a:ext>
                </a:extLst>
              </p:cNvPr>
              <p:cNvSpPr/>
              <p:nvPr/>
            </p:nvSpPr>
            <p:spPr>
              <a:xfrm>
                <a:off x="5916000" y="3258355"/>
                <a:ext cx="360000" cy="36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Овал 24">
                <a:extLst>
                  <a:ext uri="{FF2B5EF4-FFF2-40B4-BE49-F238E27FC236}">
                    <a16:creationId xmlns:a16="http://schemas.microsoft.com/office/drawing/2014/main" id="{405C56F3-8208-EFAE-5DC4-0496D77D6DFB}"/>
                  </a:ext>
                </a:extLst>
              </p:cNvPr>
              <p:cNvSpPr/>
              <p:nvPr/>
            </p:nvSpPr>
            <p:spPr>
              <a:xfrm>
                <a:off x="5916000" y="4716022"/>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Овал 25">
                <a:extLst>
                  <a:ext uri="{FF2B5EF4-FFF2-40B4-BE49-F238E27FC236}">
                    <a16:creationId xmlns:a16="http://schemas.microsoft.com/office/drawing/2014/main" id="{734987E3-6C6E-FE67-CF83-B1192ED5F4B3}"/>
                  </a:ext>
                </a:extLst>
              </p:cNvPr>
              <p:cNvSpPr/>
              <p:nvPr/>
            </p:nvSpPr>
            <p:spPr>
              <a:xfrm>
                <a:off x="5916000" y="5444855"/>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Овал 26">
                <a:extLst>
                  <a:ext uri="{FF2B5EF4-FFF2-40B4-BE49-F238E27FC236}">
                    <a16:creationId xmlns:a16="http://schemas.microsoft.com/office/drawing/2014/main" id="{34092E47-900E-2E5F-4A09-1F852CA1720B}"/>
                  </a:ext>
                </a:extLst>
              </p:cNvPr>
              <p:cNvSpPr/>
              <p:nvPr/>
            </p:nvSpPr>
            <p:spPr>
              <a:xfrm>
                <a:off x="5916000" y="3987189"/>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6" name="Группа 35">
            <a:extLst>
              <a:ext uri="{FF2B5EF4-FFF2-40B4-BE49-F238E27FC236}">
                <a16:creationId xmlns:a16="http://schemas.microsoft.com/office/drawing/2014/main" id="{EF046C9B-F1D2-78A9-65D3-6D727BBC9CEE}"/>
              </a:ext>
            </a:extLst>
          </p:cNvPr>
          <p:cNvGrpSpPr/>
          <p:nvPr/>
        </p:nvGrpSpPr>
        <p:grpSpPr>
          <a:xfrm>
            <a:off x="6534938" y="2132725"/>
            <a:ext cx="2520000" cy="4176000"/>
            <a:chOff x="6929793" y="2132725"/>
            <a:chExt cx="2520000" cy="4176000"/>
          </a:xfrm>
        </p:grpSpPr>
        <p:sp>
          <p:nvSpPr>
            <p:cNvPr id="17" name="Прямокутник 18">
              <a:extLst>
                <a:ext uri="{FF2B5EF4-FFF2-40B4-BE49-F238E27FC236}">
                  <a16:creationId xmlns:a16="http://schemas.microsoft.com/office/drawing/2014/main" id="{0B487A8C-A0C9-483D-26B2-0D368B5293D2}"/>
                </a:ext>
              </a:extLst>
            </p:cNvPr>
            <p:cNvSpPr/>
            <p:nvPr/>
          </p:nvSpPr>
          <p:spPr>
            <a:xfrm>
              <a:off x="6929793" y="2132725"/>
              <a:ext cx="2520000" cy="417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uk-UA" dirty="0">
                  <a:solidFill>
                    <a:schemeClr val="tx1"/>
                  </a:solidFill>
                  <a:latin typeface="+mj-lt"/>
                </a:rPr>
                <a:t>Форма</a:t>
              </a:r>
              <a:endParaRPr lang="en-US" dirty="0">
                <a:solidFill>
                  <a:schemeClr val="tx1"/>
                </a:solidFill>
                <a:latin typeface="+mj-lt"/>
              </a:endParaRPr>
            </a:p>
          </p:txBody>
        </p:sp>
        <p:grpSp>
          <p:nvGrpSpPr>
            <p:cNvPr id="35" name="Группа 34">
              <a:extLst>
                <a:ext uri="{FF2B5EF4-FFF2-40B4-BE49-F238E27FC236}">
                  <a16:creationId xmlns:a16="http://schemas.microsoft.com/office/drawing/2014/main" id="{7A878948-A777-01D3-E17C-DCB37EDE6981}"/>
                </a:ext>
              </a:extLst>
            </p:cNvPr>
            <p:cNvGrpSpPr/>
            <p:nvPr/>
          </p:nvGrpSpPr>
          <p:grpSpPr>
            <a:xfrm>
              <a:off x="7973793" y="2583058"/>
              <a:ext cx="432000" cy="3275334"/>
              <a:chOff x="9372883" y="2529521"/>
              <a:chExt cx="432000" cy="3275334"/>
            </a:xfrm>
          </p:grpSpPr>
          <p:sp>
            <p:nvSpPr>
              <p:cNvPr id="28" name="Овал 27">
                <a:extLst>
                  <a:ext uri="{FF2B5EF4-FFF2-40B4-BE49-F238E27FC236}">
                    <a16:creationId xmlns:a16="http://schemas.microsoft.com/office/drawing/2014/main" id="{9AB4F9BF-7477-7EC0-77F3-EA59689CBBF5}"/>
                  </a:ext>
                </a:extLst>
              </p:cNvPr>
              <p:cNvSpPr/>
              <p:nvPr/>
            </p:nvSpPr>
            <p:spPr>
              <a:xfrm>
                <a:off x="9409111" y="2529521"/>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Овал 28">
                <a:extLst>
                  <a:ext uri="{FF2B5EF4-FFF2-40B4-BE49-F238E27FC236}">
                    <a16:creationId xmlns:a16="http://schemas.microsoft.com/office/drawing/2014/main" id="{F423A651-1F68-F97D-7DBD-79EDACEF0223}"/>
                  </a:ext>
                </a:extLst>
              </p:cNvPr>
              <p:cNvSpPr/>
              <p:nvPr/>
            </p:nvSpPr>
            <p:spPr>
              <a:xfrm>
                <a:off x="9409111" y="3258355"/>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Блок-схема: рішення 33">
                <a:extLst>
                  <a:ext uri="{FF2B5EF4-FFF2-40B4-BE49-F238E27FC236}">
                    <a16:creationId xmlns:a16="http://schemas.microsoft.com/office/drawing/2014/main" id="{68D1B36A-B332-DF6D-A923-4CEFB3067E7F}"/>
                  </a:ext>
                </a:extLst>
              </p:cNvPr>
              <p:cNvSpPr/>
              <p:nvPr/>
            </p:nvSpPr>
            <p:spPr>
              <a:xfrm>
                <a:off x="9372883" y="4680022"/>
                <a:ext cx="432000" cy="432000"/>
              </a:xfrm>
              <a:prstGeom prst="flowChartDecision">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Овал 30">
                <a:extLst>
                  <a:ext uri="{FF2B5EF4-FFF2-40B4-BE49-F238E27FC236}">
                    <a16:creationId xmlns:a16="http://schemas.microsoft.com/office/drawing/2014/main" id="{9A3C0CE7-9749-8E81-D7C7-144AF570045C}"/>
                  </a:ext>
                </a:extLst>
              </p:cNvPr>
              <p:cNvSpPr/>
              <p:nvPr/>
            </p:nvSpPr>
            <p:spPr>
              <a:xfrm>
                <a:off x="9409111" y="5444855"/>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Овал 31">
                <a:extLst>
                  <a:ext uri="{FF2B5EF4-FFF2-40B4-BE49-F238E27FC236}">
                    <a16:creationId xmlns:a16="http://schemas.microsoft.com/office/drawing/2014/main" id="{43E3D044-1A56-3221-C2F3-A7B0240091A7}"/>
                  </a:ext>
                </a:extLst>
              </p:cNvPr>
              <p:cNvSpPr/>
              <p:nvPr/>
            </p:nvSpPr>
            <p:spPr>
              <a:xfrm>
                <a:off x="9409111" y="3987189"/>
                <a:ext cx="360000" cy="36000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9669323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73964640-3004-4C7F-A2BB-A14B52EA31EB}"/>
              </a:ext>
            </a:extLst>
          </p:cNvPr>
          <p:cNvPicPr>
            <a:picLocks noChangeAspect="1"/>
          </p:cNvPicPr>
          <p:nvPr/>
        </p:nvPicPr>
        <p:blipFill>
          <a:blip r:embed="rId2"/>
          <a:stretch>
            <a:fillRect/>
          </a:stretch>
        </p:blipFill>
        <p:spPr>
          <a:xfrm>
            <a:off x="698340" y="729000"/>
            <a:ext cx="7487916" cy="5400000"/>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nvGrpSpPr>
          <p:cNvPr id="6" name="Группа 5">
            <a:extLst>
              <a:ext uri="{FF2B5EF4-FFF2-40B4-BE49-F238E27FC236}">
                <a16:creationId xmlns:a16="http://schemas.microsoft.com/office/drawing/2014/main" id="{3C9046A1-9ECE-9339-AF17-C27830586A08}"/>
              </a:ext>
            </a:extLst>
          </p:cNvPr>
          <p:cNvGrpSpPr/>
          <p:nvPr/>
        </p:nvGrpSpPr>
        <p:grpSpPr>
          <a:xfrm>
            <a:off x="8685196" y="729000"/>
            <a:ext cx="2408094" cy="2627293"/>
            <a:chOff x="8685196" y="990299"/>
            <a:chExt cx="2408094" cy="2627293"/>
          </a:xfrm>
        </p:grpSpPr>
        <p:pic>
          <p:nvPicPr>
            <p:cNvPr id="3" name="Рисунок 2">
              <a:extLst>
                <a:ext uri="{FF2B5EF4-FFF2-40B4-BE49-F238E27FC236}">
                  <a16:creationId xmlns:a16="http://schemas.microsoft.com/office/drawing/2014/main" id="{8D61BD42-1778-41EF-A054-8B5B3BB535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65288" y="1889590"/>
              <a:ext cx="1728002" cy="1728002"/>
            </a:xfrm>
            <a:prstGeom prst="rect">
              <a:avLst/>
            </a:prstGeom>
          </p:spPr>
        </p:pic>
        <p:sp>
          <p:nvSpPr>
            <p:cNvPr id="4" name="Бульбашка прямої мови: прямокутна з округленими кутами 3">
              <a:extLst>
                <a:ext uri="{FF2B5EF4-FFF2-40B4-BE49-F238E27FC236}">
                  <a16:creationId xmlns:a16="http://schemas.microsoft.com/office/drawing/2014/main" id="{A6FA37F4-EF9A-49F6-B441-2C6A10221740}"/>
                </a:ext>
              </a:extLst>
            </p:cNvPr>
            <p:cNvSpPr/>
            <p:nvPr/>
          </p:nvSpPr>
          <p:spPr>
            <a:xfrm>
              <a:off x="8685196" y="990299"/>
              <a:ext cx="2408094" cy="612648"/>
            </a:xfrm>
            <a:prstGeom prst="wedgeRoundRectCallout">
              <a:avLst>
                <a:gd name="adj1" fmla="val -6893"/>
                <a:gd name="adj2" fmla="val 119671"/>
                <a:gd name="adj3" fmla="val 16667"/>
              </a:avLst>
            </a:prstGeom>
            <a:solidFill>
              <a:schemeClr val="accent5">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dirty="0">
                  <a:solidFill>
                    <a:schemeClr val="tx1"/>
                  </a:solidFill>
                  <a:latin typeface="+mj-lt"/>
                </a:rPr>
                <a:t>Куди дивитись?</a:t>
              </a:r>
            </a:p>
          </p:txBody>
        </p:sp>
      </p:grpSp>
      <p:sp>
        <p:nvSpPr>
          <p:cNvPr id="5" name="Овал 4">
            <a:extLst>
              <a:ext uri="{FF2B5EF4-FFF2-40B4-BE49-F238E27FC236}">
                <a16:creationId xmlns:a16="http://schemas.microsoft.com/office/drawing/2014/main" id="{77E0CD18-0513-9446-3214-56B20A49BF24}"/>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356849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Объект 9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100" name="Объект 9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Рисунок 2">
            <a:extLst>
              <a:ext uri="{FF2B5EF4-FFF2-40B4-BE49-F238E27FC236}">
                <a16:creationId xmlns:a16="http://schemas.microsoft.com/office/drawing/2014/main" id="{492E61C7-C935-6D93-20CA-3C0CA68D8CE0}"/>
              </a:ext>
            </a:extLst>
          </p:cNvPr>
          <p:cNvPicPr>
            <a:picLocks noChangeAspect="1"/>
          </p:cNvPicPr>
          <p:nvPr/>
        </p:nvPicPr>
        <p:blipFill>
          <a:blip r:embed="rId5"/>
          <a:stretch>
            <a:fillRect/>
          </a:stretch>
        </p:blipFill>
        <p:spPr>
          <a:xfrm>
            <a:off x="611912" y="173422"/>
            <a:ext cx="11580088" cy="6511158"/>
          </a:xfrm>
          <a:prstGeom prst="rect">
            <a:avLst/>
          </a:prstGeom>
        </p:spPr>
      </p:pic>
      <p:pic>
        <p:nvPicPr>
          <p:cNvPr id="62" name="Picture 4" descr="Backhand Index Pointing Right on Apple iOS 14.2">
            <a:extLst>
              <a:ext uri="{FF2B5EF4-FFF2-40B4-BE49-F238E27FC236}">
                <a16:creationId xmlns:a16="http://schemas.microsoft.com/office/drawing/2014/main" id="{EF985DF2-727D-499F-A05A-23A497F90A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459" y="332496"/>
            <a:ext cx="726905" cy="72690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 descr="Backhand Index Pointing Right on Apple iOS 14.2">
            <a:extLst>
              <a:ext uri="{FF2B5EF4-FFF2-40B4-BE49-F238E27FC236}">
                <a16:creationId xmlns:a16="http://schemas.microsoft.com/office/drawing/2014/main" id="{FE2142AC-F5F9-4FF6-8BA1-9F735727343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459" y="1264194"/>
            <a:ext cx="726905" cy="726905"/>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 descr="Backhand Index Pointing Right on Apple iOS 14.2">
            <a:extLst>
              <a:ext uri="{FF2B5EF4-FFF2-40B4-BE49-F238E27FC236}">
                <a16:creationId xmlns:a16="http://schemas.microsoft.com/office/drawing/2014/main" id="{5F177F70-0587-D50F-72D4-5752106BE16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459" y="4094278"/>
            <a:ext cx="726905" cy="726905"/>
          </a:xfrm>
          <a:prstGeom prst="rect">
            <a:avLst/>
          </a:prstGeom>
          <a:noFill/>
          <a:extLst>
            <a:ext uri="{909E8E84-426E-40DD-AFC4-6F175D3DCCD1}">
              <a14:hiddenFill xmlns:a14="http://schemas.microsoft.com/office/drawing/2010/main">
                <a:solidFill>
                  <a:srgbClr val="FFFFFF"/>
                </a:solidFill>
              </a14:hiddenFill>
            </a:ext>
          </a:extLst>
        </p:spPr>
      </p:pic>
      <p:sp>
        <p:nvSpPr>
          <p:cNvPr id="2" name="Овал 1">
            <a:extLst>
              <a:ext uri="{FF2B5EF4-FFF2-40B4-BE49-F238E27FC236}">
                <a16:creationId xmlns:a16="http://schemas.microsoft.com/office/drawing/2014/main" id="{DD47BEE2-600B-38E5-DCB5-02E43D7F47F2}"/>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880599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29AF1E3B-3827-4E60-A685-17E32297246E}"/>
              </a:ext>
            </a:extLst>
          </p:cNvPr>
          <p:cNvPicPr>
            <a:picLocks noChangeAspect="1"/>
          </p:cNvPicPr>
          <p:nvPr/>
        </p:nvPicPr>
        <p:blipFill>
          <a:blip r:embed="rId2">
            <a:extLst>
              <a:ext uri="{BEBA8EAE-BF5A-486C-A8C5-ECC9F3942E4B}">
                <a14:imgProps xmlns:a14="http://schemas.microsoft.com/office/drawing/2010/main">
                  <a14:imgLayer r:embed="rId3">
                    <a14:imgEffect>
                      <a14:saturation sat="66000"/>
                    </a14:imgEffect>
                  </a14:imgLayer>
                </a14:imgProps>
              </a:ext>
            </a:extLst>
          </a:blip>
          <a:stretch>
            <a:fillRect/>
          </a:stretch>
        </p:blipFill>
        <p:spPr>
          <a:xfrm>
            <a:off x="1776000" y="999985"/>
            <a:ext cx="8640000" cy="4858030"/>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4" name="Picture 4" descr="Backhand Index Pointing Right on Apple iOS 14.2">
            <a:extLst>
              <a:ext uri="{FF2B5EF4-FFF2-40B4-BE49-F238E27FC236}">
                <a16:creationId xmlns:a16="http://schemas.microsoft.com/office/drawing/2014/main" id="{8C1B8D82-1BD9-4DFB-BC48-86650B8A42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1147" y="1539134"/>
            <a:ext cx="726905" cy="7269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Index Pointing Up on Apple iOS 14.2">
            <a:extLst>
              <a:ext uri="{FF2B5EF4-FFF2-40B4-BE49-F238E27FC236}">
                <a16:creationId xmlns:a16="http://schemas.microsoft.com/office/drawing/2014/main" id="{2B5A89F5-6AFA-4B7B-9A55-5D7EC7DCF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7469" y="4435989"/>
            <a:ext cx="726905" cy="726905"/>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кутник 6">
            <a:extLst>
              <a:ext uri="{FF2B5EF4-FFF2-40B4-BE49-F238E27FC236}">
                <a16:creationId xmlns:a16="http://schemas.microsoft.com/office/drawing/2014/main" id="{F776007D-599D-4417-AA18-C0B2F53717DB}"/>
              </a:ext>
            </a:extLst>
          </p:cNvPr>
          <p:cNvSpPr/>
          <p:nvPr/>
        </p:nvSpPr>
        <p:spPr>
          <a:xfrm>
            <a:off x="135465" y="1745416"/>
            <a:ext cx="1513841"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uk-UA" sz="1600" dirty="0">
                <a:solidFill>
                  <a:schemeClr val="tx1"/>
                </a:solidFill>
                <a:latin typeface="+mj-lt"/>
              </a:rPr>
              <a:t>це контраст</a:t>
            </a:r>
            <a:endParaRPr lang="en-US" sz="1600" dirty="0">
              <a:solidFill>
                <a:schemeClr val="tx1"/>
              </a:solidFill>
              <a:latin typeface="+mj-lt"/>
            </a:endParaRPr>
          </a:p>
        </p:txBody>
      </p:sp>
      <p:sp>
        <p:nvSpPr>
          <p:cNvPr id="8" name="Прямокутник 7">
            <a:extLst>
              <a:ext uri="{FF2B5EF4-FFF2-40B4-BE49-F238E27FC236}">
                <a16:creationId xmlns:a16="http://schemas.microsoft.com/office/drawing/2014/main" id="{64ADB712-13EF-4D90-8F80-A9FE42FB653F}"/>
              </a:ext>
            </a:extLst>
          </p:cNvPr>
          <p:cNvSpPr/>
          <p:nvPr/>
        </p:nvSpPr>
        <p:spPr>
          <a:xfrm>
            <a:off x="2046308" y="5269170"/>
            <a:ext cx="2009226"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і це контраст</a:t>
            </a:r>
            <a:endParaRPr lang="en-US" sz="1600" dirty="0">
              <a:solidFill>
                <a:schemeClr val="tx1"/>
              </a:solidFill>
              <a:latin typeface="+mj-lt"/>
            </a:endParaRPr>
          </a:p>
        </p:txBody>
      </p:sp>
      <p:sp>
        <p:nvSpPr>
          <p:cNvPr id="2" name="Овал 1">
            <a:extLst>
              <a:ext uri="{FF2B5EF4-FFF2-40B4-BE49-F238E27FC236}">
                <a16:creationId xmlns:a16="http://schemas.microsoft.com/office/drawing/2014/main" id="{921ACE72-91FF-AA89-1720-0955BB3CE218}"/>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554183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CF2BB424-F0DA-61D3-FABA-A7B73AAE46CF}"/>
              </a:ext>
            </a:extLst>
          </p:cNvPr>
          <p:cNvSpPr>
            <a:spLocks noGrp="1"/>
          </p:cNvSpPr>
          <p:nvPr>
            <p:ph type="body" sz="quarter" idx="10"/>
          </p:nvPr>
        </p:nvSpPr>
        <p:spPr/>
        <p:txBody>
          <a:bodyPr/>
          <a:lstStyle/>
          <a:p>
            <a:r>
              <a:rPr lang="ru-RU" dirty="0" err="1">
                <a:solidFill>
                  <a:schemeClr val="accent1"/>
                </a:solidFill>
              </a:rPr>
              <a:t>Всі</a:t>
            </a:r>
            <a:r>
              <a:rPr lang="ru-RU" dirty="0">
                <a:solidFill>
                  <a:schemeClr val="accent1"/>
                </a:solidFill>
              </a:rPr>
              <a:t> </a:t>
            </a:r>
            <a:r>
              <a:rPr lang="ru-RU" dirty="0" err="1">
                <a:solidFill>
                  <a:schemeClr val="accent1"/>
                </a:solidFill>
              </a:rPr>
              <a:t>елементи</a:t>
            </a:r>
            <a:r>
              <a:rPr lang="ru-RU" dirty="0">
                <a:solidFill>
                  <a:schemeClr val="accent1"/>
                </a:solidFill>
              </a:rPr>
              <a:t> слайду </a:t>
            </a:r>
            <a:r>
              <a:rPr lang="ru-RU" dirty="0" err="1">
                <a:solidFill>
                  <a:schemeClr val="accent1"/>
                </a:solidFill>
              </a:rPr>
              <a:t>повинні</a:t>
            </a:r>
            <a:r>
              <a:rPr lang="ru-RU" dirty="0">
                <a:solidFill>
                  <a:schemeClr val="accent1"/>
                </a:solidFill>
              </a:rPr>
              <a:t> бути </a:t>
            </a:r>
            <a:r>
              <a:rPr lang="ru-RU" dirty="0" err="1">
                <a:solidFill>
                  <a:schemeClr val="accent5"/>
                </a:solidFill>
              </a:rPr>
              <a:t>вирівняні</a:t>
            </a:r>
            <a:r>
              <a:rPr lang="ru-RU" dirty="0">
                <a:solidFill>
                  <a:schemeClr val="accent1"/>
                </a:solidFill>
              </a:rPr>
              <a:t> </a:t>
            </a:r>
            <a:r>
              <a:rPr lang="ru-RU" dirty="0" err="1">
                <a:solidFill>
                  <a:schemeClr val="accent1"/>
                </a:solidFill>
              </a:rPr>
              <a:t>відносно</a:t>
            </a:r>
            <a:r>
              <a:rPr lang="ru-RU" dirty="0">
                <a:solidFill>
                  <a:schemeClr val="accent1"/>
                </a:solidFill>
              </a:rPr>
              <a:t> один одного</a:t>
            </a:r>
            <a:endParaRPr lang="ru-UA" dirty="0">
              <a:solidFill>
                <a:schemeClr val="accent1"/>
              </a:solidFill>
            </a:endParaRPr>
          </a:p>
        </p:txBody>
      </p:sp>
      <p:grpSp>
        <p:nvGrpSpPr>
          <p:cNvPr id="3" name="Группа 2">
            <a:extLst>
              <a:ext uri="{FF2B5EF4-FFF2-40B4-BE49-F238E27FC236}">
                <a16:creationId xmlns:a16="http://schemas.microsoft.com/office/drawing/2014/main" id="{861F8F99-21AC-81D8-B089-64F2B12FD06E}"/>
              </a:ext>
            </a:extLst>
          </p:cNvPr>
          <p:cNvGrpSpPr/>
          <p:nvPr/>
        </p:nvGrpSpPr>
        <p:grpSpPr>
          <a:xfrm>
            <a:off x="814388" y="2133600"/>
            <a:ext cx="4154312" cy="4095198"/>
            <a:chOff x="982888" y="2250040"/>
            <a:chExt cx="4154312" cy="4095198"/>
          </a:xfrm>
        </p:grpSpPr>
        <p:sp>
          <p:nvSpPr>
            <p:cNvPr id="4" name="Прямокутник 51">
              <a:extLst>
                <a:ext uri="{FF2B5EF4-FFF2-40B4-BE49-F238E27FC236}">
                  <a16:creationId xmlns:a16="http://schemas.microsoft.com/office/drawing/2014/main" id="{75049A83-B8FD-80A2-6C83-3104E1E3020F}"/>
                </a:ext>
              </a:extLst>
            </p:cNvPr>
            <p:cNvSpPr/>
            <p:nvPr/>
          </p:nvSpPr>
          <p:spPr>
            <a:xfrm>
              <a:off x="982888" y="2250040"/>
              <a:ext cx="3600000" cy="4095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uk-UA" dirty="0">
                  <a:solidFill>
                    <a:schemeClr val="tx1"/>
                  </a:solidFill>
                  <a:latin typeface="+mj-lt"/>
                </a:rPr>
                <a:t>Не </a:t>
              </a:r>
              <a:r>
                <a:rPr lang="uk-UA" dirty="0" err="1">
                  <a:solidFill>
                    <a:schemeClr val="tx1"/>
                  </a:solidFill>
                  <a:latin typeface="+mj-lt"/>
                </a:rPr>
                <a:t>ок</a:t>
              </a:r>
              <a:endParaRPr lang="en-US" dirty="0">
                <a:solidFill>
                  <a:schemeClr val="tx1"/>
                </a:solidFill>
                <a:latin typeface="+mj-lt"/>
              </a:endParaRPr>
            </a:p>
          </p:txBody>
        </p:sp>
        <p:sp>
          <p:nvSpPr>
            <p:cNvPr id="5" name="Прямокутник 44">
              <a:extLst>
                <a:ext uri="{FF2B5EF4-FFF2-40B4-BE49-F238E27FC236}">
                  <a16:creationId xmlns:a16="http://schemas.microsoft.com/office/drawing/2014/main" id="{0D6AC2D8-BD35-6FDE-9393-4F5204BCBBBB}"/>
                </a:ext>
              </a:extLst>
            </p:cNvPr>
            <p:cNvSpPr/>
            <p:nvPr/>
          </p:nvSpPr>
          <p:spPr>
            <a:xfrm>
              <a:off x="2273694" y="3156778"/>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Контраст </a:t>
              </a:r>
            </a:p>
          </p:txBody>
        </p:sp>
        <p:sp>
          <p:nvSpPr>
            <p:cNvPr id="6" name="Прямокутник: округлені кути 45">
              <a:extLst>
                <a:ext uri="{FF2B5EF4-FFF2-40B4-BE49-F238E27FC236}">
                  <a16:creationId xmlns:a16="http://schemas.microsoft.com/office/drawing/2014/main" id="{04A9C104-1AE7-262D-0804-B41597C7B530}"/>
                </a:ext>
              </a:extLst>
            </p:cNvPr>
            <p:cNvSpPr/>
            <p:nvPr/>
          </p:nvSpPr>
          <p:spPr>
            <a:xfrm>
              <a:off x="1301368" y="3155847"/>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7" name="Прямокутник: округлені кути 46">
              <a:extLst>
                <a:ext uri="{FF2B5EF4-FFF2-40B4-BE49-F238E27FC236}">
                  <a16:creationId xmlns:a16="http://schemas.microsoft.com/office/drawing/2014/main" id="{F346A4AF-41B1-5030-06A0-865FCB723BD7}"/>
                </a:ext>
              </a:extLst>
            </p:cNvPr>
            <p:cNvSpPr/>
            <p:nvPr/>
          </p:nvSpPr>
          <p:spPr>
            <a:xfrm>
              <a:off x="1508576" y="402763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8" name="Прямокутник: округлені кути 47">
              <a:extLst>
                <a:ext uri="{FF2B5EF4-FFF2-40B4-BE49-F238E27FC236}">
                  <a16:creationId xmlns:a16="http://schemas.microsoft.com/office/drawing/2014/main" id="{F64E4848-8B55-96BE-0D63-08F1BC6E7900}"/>
                </a:ext>
              </a:extLst>
            </p:cNvPr>
            <p:cNvSpPr/>
            <p:nvPr/>
          </p:nvSpPr>
          <p:spPr>
            <a:xfrm>
              <a:off x="1407471" y="4961223"/>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9" name="Прямокутник 48">
              <a:extLst>
                <a:ext uri="{FF2B5EF4-FFF2-40B4-BE49-F238E27FC236}">
                  <a16:creationId xmlns:a16="http://schemas.microsoft.com/office/drawing/2014/main" id="{B46D46D1-7F59-8331-C68D-0853F0686220}"/>
                </a:ext>
              </a:extLst>
            </p:cNvPr>
            <p:cNvSpPr/>
            <p:nvPr/>
          </p:nvSpPr>
          <p:spPr>
            <a:xfrm>
              <a:off x="2121296" y="4027639"/>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800" dirty="0">
                  <a:solidFill>
                    <a:schemeClr val="tx1"/>
                  </a:solidFill>
                  <a:ea typeface="Roboto Black" panose="02000000000000000000" pitchFamily="2" charset="0"/>
                </a:rPr>
                <a:t>Вирівнювання </a:t>
              </a:r>
            </a:p>
          </p:txBody>
        </p:sp>
        <p:sp>
          <p:nvSpPr>
            <p:cNvPr id="10" name="Прямокутник 49">
              <a:extLst>
                <a:ext uri="{FF2B5EF4-FFF2-40B4-BE49-F238E27FC236}">
                  <a16:creationId xmlns:a16="http://schemas.microsoft.com/office/drawing/2014/main" id="{183D2C56-E873-E2AC-7D0E-38B3476E51D2}"/>
                </a:ext>
              </a:extLst>
            </p:cNvPr>
            <p:cNvSpPr/>
            <p:nvPr/>
          </p:nvSpPr>
          <p:spPr>
            <a:xfrm>
              <a:off x="2273695" y="4898500"/>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Повітря</a:t>
              </a:r>
              <a:r>
                <a:rPr lang="ru-RU" sz="1800" dirty="0">
                  <a:solidFill>
                    <a:schemeClr val="tx1"/>
                  </a:solidFill>
                  <a:ea typeface="Roboto Black" panose="02000000000000000000" pitchFamily="2" charset="0"/>
                </a:rPr>
                <a:t> на </a:t>
              </a:r>
              <a:r>
                <a:rPr lang="ru-RU" sz="1800" dirty="0" err="1">
                  <a:solidFill>
                    <a:schemeClr val="tx1"/>
                  </a:solidFill>
                  <a:ea typeface="Roboto Black" panose="02000000000000000000" pitchFamily="2" charset="0"/>
                </a:rPr>
                <a:t>слайді</a:t>
              </a:r>
              <a:endParaRPr lang="ru-RU" sz="1800" dirty="0">
                <a:solidFill>
                  <a:schemeClr val="tx1"/>
                </a:solidFill>
                <a:ea typeface="Roboto Black" panose="02000000000000000000" pitchFamily="2" charset="0"/>
              </a:endParaRPr>
            </a:p>
          </p:txBody>
        </p:sp>
      </p:grpSp>
      <p:grpSp>
        <p:nvGrpSpPr>
          <p:cNvPr id="45" name="Группа 44">
            <a:extLst>
              <a:ext uri="{FF2B5EF4-FFF2-40B4-BE49-F238E27FC236}">
                <a16:creationId xmlns:a16="http://schemas.microsoft.com/office/drawing/2014/main" id="{677693A0-D4A8-A9CF-66D0-410EED09B116}"/>
              </a:ext>
            </a:extLst>
          </p:cNvPr>
          <p:cNvGrpSpPr/>
          <p:nvPr/>
        </p:nvGrpSpPr>
        <p:grpSpPr>
          <a:xfrm>
            <a:off x="5074386" y="2133600"/>
            <a:ext cx="3600000" cy="4095198"/>
            <a:chOff x="4440540" y="2133600"/>
            <a:chExt cx="3600000" cy="4095198"/>
          </a:xfrm>
        </p:grpSpPr>
        <p:sp>
          <p:nvSpPr>
            <p:cNvPr id="12" name="Прямокутник 52">
              <a:extLst>
                <a:ext uri="{FF2B5EF4-FFF2-40B4-BE49-F238E27FC236}">
                  <a16:creationId xmlns:a16="http://schemas.microsoft.com/office/drawing/2014/main" id="{3462E3F2-3BBA-53D9-3A13-B61E08E91785}"/>
                </a:ext>
              </a:extLst>
            </p:cNvPr>
            <p:cNvSpPr/>
            <p:nvPr/>
          </p:nvSpPr>
          <p:spPr>
            <a:xfrm>
              <a:off x="4440540" y="2133600"/>
              <a:ext cx="3600000" cy="4095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uk-UA" dirty="0">
                  <a:solidFill>
                    <a:schemeClr val="tx1"/>
                  </a:solidFill>
                  <a:latin typeface="+mj-lt"/>
                </a:rPr>
                <a:t>Максимально </a:t>
              </a:r>
              <a:r>
                <a:rPr lang="uk-UA" dirty="0" err="1">
                  <a:solidFill>
                    <a:schemeClr val="tx1"/>
                  </a:solidFill>
                  <a:latin typeface="+mj-lt"/>
                </a:rPr>
                <a:t>ок</a:t>
              </a:r>
              <a:endParaRPr lang="en-US" dirty="0">
                <a:solidFill>
                  <a:schemeClr val="tx1"/>
                </a:solidFill>
                <a:latin typeface="+mj-lt"/>
              </a:endParaRPr>
            </a:p>
          </p:txBody>
        </p:sp>
        <p:grpSp>
          <p:nvGrpSpPr>
            <p:cNvPr id="44" name="Группа 43">
              <a:extLst>
                <a:ext uri="{FF2B5EF4-FFF2-40B4-BE49-F238E27FC236}">
                  <a16:creationId xmlns:a16="http://schemas.microsoft.com/office/drawing/2014/main" id="{C6B17E79-9F47-EF15-AF2C-6A127640B81A}"/>
                </a:ext>
              </a:extLst>
            </p:cNvPr>
            <p:cNvGrpSpPr/>
            <p:nvPr/>
          </p:nvGrpSpPr>
          <p:grpSpPr>
            <a:xfrm>
              <a:off x="4837453" y="3040338"/>
              <a:ext cx="2806174" cy="2281722"/>
              <a:chOff x="4966228" y="3040338"/>
              <a:chExt cx="2806174" cy="2281722"/>
            </a:xfrm>
          </p:grpSpPr>
          <p:sp>
            <p:nvSpPr>
              <p:cNvPr id="14" name="Прямокутник 55">
                <a:extLst>
                  <a:ext uri="{FF2B5EF4-FFF2-40B4-BE49-F238E27FC236}">
                    <a16:creationId xmlns:a16="http://schemas.microsoft.com/office/drawing/2014/main" id="{DE3A5ADE-515F-4748-7331-702562E0605E}"/>
                  </a:ext>
                </a:extLst>
              </p:cNvPr>
              <p:cNvSpPr/>
              <p:nvPr/>
            </p:nvSpPr>
            <p:spPr>
              <a:xfrm>
                <a:off x="5731347" y="3040338"/>
                <a:ext cx="2041054"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Контраст </a:t>
                </a:r>
              </a:p>
            </p:txBody>
          </p:sp>
          <p:sp>
            <p:nvSpPr>
              <p:cNvPr id="39" name="Прямокутник: округлені кути 56">
                <a:extLst>
                  <a:ext uri="{FF2B5EF4-FFF2-40B4-BE49-F238E27FC236}">
                    <a16:creationId xmlns:a16="http://schemas.microsoft.com/office/drawing/2014/main" id="{347F591E-9C1B-F6A8-E6AD-555B8984531E}"/>
                  </a:ext>
                </a:extLst>
              </p:cNvPr>
              <p:cNvSpPr/>
              <p:nvPr/>
            </p:nvSpPr>
            <p:spPr>
              <a:xfrm>
                <a:off x="4966228" y="3040338"/>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40" name="Прямокутник: округлені кути 57">
                <a:extLst>
                  <a:ext uri="{FF2B5EF4-FFF2-40B4-BE49-F238E27FC236}">
                    <a16:creationId xmlns:a16="http://schemas.microsoft.com/office/drawing/2014/main" id="{BBCBB212-82E7-B4D5-4B50-D8763F9176B6}"/>
                  </a:ext>
                </a:extLst>
              </p:cNvPr>
              <p:cNvSpPr/>
              <p:nvPr/>
            </p:nvSpPr>
            <p:spPr>
              <a:xfrm>
                <a:off x="4966228" y="391119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41" name="Прямокутник: округлені кути 58">
                <a:extLst>
                  <a:ext uri="{FF2B5EF4-FFF2-40B4-BE49-F238E27FC236}">
                    <a16:creationId xmlns:a16="http://schemas.microsoft.com/office/drawing/2014/main" id="{BCEBF701-FD68-096D-3DCE-26E85106EA28}"/>
                  </a:ext>
                </a:extLst>
              </p:cNvPr>
              <p:cNvSpPr/>
              <p:nvPr/>
            </p:nvSpPr>
            <p:spPr>
              <a:xfrm>
                <a:off x="4966228" y="4782060"/>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42" name="Прямокутник 59">
                <a:extLst>
                  <a:ext uri="{FF2B5EF4-FFF2-40B4-BE49-F238E27FC236}">
                    <a16:creationId xmlns:a16="http://schemas.microsoft.com/office/drawing/2014/main" id="{62D85D63-6213-DC14-0A74-BD08B747055C}"/>
                  </a:ext>
                </a:extLst>
              </p:cNvPr>
              <p:cNvSpPr/>
              <p:nvPr/>
            </p:nvSpPr>
            <p:spPr>
              <a:xfrm>
                <a:off x="5731347" y="3911199"/>
                <a:ext cx="2041054"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800" dirty="0">
                    <a:solidFill>
                      <a:schemeClr val="tx1"/>
                    </a:solidFill>
                    <a:ea typeface="Roboto Black" panose="02000000000000000000" pitchFamily="2" charset="0"/>
                  </a:rPr>
                  <a:t>Вирівнювання </a:t>
                </a:r>
              </a:p>
            </p:txBody>
          </p:sp>
          <p:sp>
            <p:nvSpPr>
              <p:cNvPr id="43" name="Прямокутник 60">
                <a:extLst>
                  <a:ext uri="{FF2B5EF4-FFF2-40B4-BE49-F238E27FC236}">
                    <a16:creationId xmlns:a16="http://schemas.microsoft.com/office/drawing/2014/main" id="{335CFEED-FF60-B4BF-5D4C-5B99EBD673A7}"/>
                  </a:ext>
                </a:extLst>
              </p:cNvPr>
              <p:cNvSpPr/>
              <p:nvPr/>
            </p:nvSpPr>
            <p:spPr>
              <a:xfrm>
                <a:off x="5731348" y="4782060"/>
                <a:ext cx="2041054"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Повітря</a:t>
                </a:r>
                <a:r>
                  <a:rPr lang="ru-RU" sz="1800" dirty="0">
                    <a:solidFill>
                      <a:schemeClr val="tx1"/>
                    </a:solidFill>
                    <a:ea typeface="Roboto Black" panose="02000000000000000000" pitchFamily="2" charset="0"/>
                  </a:rPr>
                  <a:t> на </a:t>
                </a:r>
                <a:r>
                  <a:rPr lang="ru-RU" sz="1800" dirty="0" err="1">
                    <a:solidFill>
                      <a:schemeClr val="tx1"/>
                    </a:solidFill>
                    <a:ea typeface="Roboto Black" panose="02000000000000000000" pitchFamily="2" charset="0"/>
                  </a:rPr>
                  <a:t>слайді</a:t>
                </a:r>
                <a:endParaRPr lang="ru-RU" sz="1800" dirty="0">
                  <a:solidFill>
                    <a:schemeClr val="tx1"/>
                  </a:solidFill>
                  <a:ea typeface="Roboto Black" panose="02000000000000000000" pitchFamily="2" charset="0"/>
                </a:endParaRPr>
              </a:p>
            </p:txBody>
          </p:sp>
        </p:grpSp>
      </p:grpSp>
    </p:spTree>
    <p:extLst>
      <p:ext uri="{BB962C8B-B14F-4D97-AF65-F5344CB8AC3E}">
        <p14:creationId xmlns:p14="http://schemas.microsoft.com/office/powerpoint/2010/main" val="15502178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кутник 5">
            <a:extLst>
              <a:ext uri="{FF2B5EF4-FFF2-40B4-BE49-F238E27FC236}">
                <a16:creationId xmlns:a16="http://schemas.microsoft.com/office/drawing/2014/main" id="{9DF9251D-7D85-4F8B-A202-3B4A7894A021}"/>
              </a:ext>
            </a:extLst>
          </p:cNvPr>
          <p:cNvSpPr/>
          <p:nvPr/>
        </p:nvSpPr>
        <p:spPr>
          <a:xfrm>
            <a:off x="982663"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8" name="Прямокутник 7">
            <a:extLst>
              <a:ext uri="{FF2B5EF4-FFF2-40B4-BE49-F238E27FC236}">
                <a16:creationId xmlns:a16="http://schemas.microsoft.com/office/drawing/2014/main" id="{0CBACD1C-30DC-450A-AE88-275A251DC93B}"/>
              </a:ext>
            </a:extLst>
          </p:cNvPr>
          <p:cNvSpPr/>
          <p:nvPr/>
        </p:nvSpPr>
        <p:spPr>
          <a:xfrm>
            <a:off x="1334294"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9" name="Прямокутник 8">
            <a:extLst>
              <a:ext uri="{FF2B5EF4-FFF2-40B4-BE49-F238E27FC236}">
                <a16:creationId xmlns:a16="http://schemas.microsoft.com/office/drawing/2014/main" id="{4BE33A1F-F7B4-431B-85C0-F2D33DA30FFF}"/>
              </a:ext>
            </a:extLst>
          </p:cNvPr>
          <p:cNvSpPr/>
          <p:nvPr/>
        </p:nvSpPr>
        <p:spPr>
          <a:xfrm>
            <a:off x="4375150"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0" name="Прямокутник 9">
            <a:extLst>
              <a:ext uri="{FF2B5EF4-FFF2-40B4-BE49-F238E27FC236}">
                <a16:creationId xmlns:a16="http://schemas.microsoft.com/office/drawing/2014/main" id="{87B71B9E-E6D0-4365-BA6F-589E633DB5F8}"/>
              </a:ext>
            </a:extLst>
          </p:cNvPr>
          <p:cNvSpPr/>
          <p:nvPr/>
        </p:nvSpPr>
        <p:spPr>
          <a:xfrm>
            <a:off x="4375149" y="4011292"/>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1" name="Прямокутник 10">
            <a:extLst>
              <a:ext uri="{FF2B5EF4-FFF2-40B4-BE49-F238E27FC236}">
                <a16:creationId xmlns:a16="http://schemas.microsoft.com/office/drawing/2014/main" id="{44ABA8ED-7C8B-4598-B0CF-894B197C0238}"/>
              </a:ext>
            </a:extLst>
          </p:cNvPr>
          <p:cNvSpPr/>
          <p:nvPr/>
        </p:nvSpPr>
        <p:spPr>
          <a:xfrm>
            <a:off x="8605839"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2" name="Прямокутник 11">
            <a:extLst>
              <a:ext uri="{FF2B5EF4-FFF2-40B4-BE49-F238E27FC236}">
                <a16:creationId xmlns:a16="http://schemas.microsoft.com/office/drawing/2014/main" id="{5272252E-97E2-4BBE-8F25-68C3722344DF}"/>
              </a:ext>
            </a:extLst>
          </p:cNvPr>
          <p:cNvSpPr/>
          <p:nvPr/>
        </p:nvSpPr>
        <p:spPr>
          <a:xfrm>
            <a:off x="8605838"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3" name="Права фігурна дужка 12">
            <a:extLst>
              <a:ext uri="{FF2B5EF4-FFF2-40B4-BE49-F238E27FC236}">
                <a16:creationId xmlns:a16="http://schemas.microsoft.com/office/drawing/2014/main" id="{21AC8436-3503-4988-947E-DC6252365B98}"/>
              </a:ext>
            </a:extLst>
          </p:cNvPr>
          <p:cNvSpPr/>
          <p:nvPr/>
        </p:nvSpPr>
        <p:spPr>
          <a:xfrm rot="16200000">
            <a:off x="3794946" y="300831"/>
            <a:ext cx="371421" cy="788987"/>
          </a:xfrm>
          <a:prstGeom prst="rightBrace">
            <a:avLst>
              <a:gd name="adj1" fmla="val 37141"/>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UA"/>
          </a:p>
        </p:txBody>
      </p:sp>
      <p:sp>
        <p:nvSpPr>
          <p:cNvPr id="14" name="Права фігурна дужка 13">
            <a:extLst>
              <a:ext uri="{FF2B5EF4-FFF2-40B4-BE49-F238E27FC236}">
                <a16:creationId xmlns:a16="http://schemas.microsoft.com/office/drawing/2014/main" id="{79119565-E423-4EC6-84BF-6D36A76ACE48}"/>
              </a:ext>
            </a:extLst>
          </p:cNvPr>
          <p:cNvSpPr/>
          <p:nvPr/>
        </p:nvSpPr>
        <p:spPr>
          <a:xfrm rot="16200000">
            <a:off x="7606532" y="-118271"/>
            <a:ext cx="371421" cy="1627190"/>
          </a:xfrm>
          <a:prstGeom prst="rightBrace">
            <a:avLst>
              <a:gd name="adj1" fmla="val 37141"/>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UA"/>
          </a:p>
        </p:txBody>
      </p:sp>
      <p:cxnSp>
        <p:nvCxnSpPr>
          <p:cNvPr id="15" name="Пряма сполучна лінія 14">
            <a:extLst>
              <a:ext uri="{FF2B5EF4-FFF2-40B4-BE49-F238E27FC236}">
                <a16:creationId xmlns:a16="http://schemas.microsoft.com/office/drawing/2014/main" id="{A03111C5-7088-4C5E-B8A9-33B35DF2672D}"/>
              </a:ext>
            </a:extLst>
          </p:cNvPr>
          <p:cNvCxnSpPr>
            <a:cxnSpLocks/>
          </p:cNvCxnSpPr>
          <p:nvPr/>
        </p:nvCxnSpPr>
        <p:spPr>
          <a:xfrm>
            <a:off x="951841" y="0"/>
            <a:ext cx="0" cy="685800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Пряма сполучна лінія 16">
            <a:extLst>
              <a:ext uri="{FF2B5EF4-FFF2-40B4-BE49-F238E27FC236}">
                <a16:creationId xmlns:a16="http://schemas.microsoft.com/office/drawing/2014/main" id="{96C421FD-1F64-42A0-8D18-8A9EF8B34314}"/>
              </a:ext>
            </a:extLst>
          </p:cNvPr>
          <p:cNvCxnSpPr>
            <a:cxnSpLocks/>
          </p:cNvCxnSpPr>
          <p:nvPr/>
        </p:nvCxnSpPr>
        <p:spPr>
          <a:xfrm flipH="1">
            <a:off x="0" y="5868060"/>
            <a:ext cx="12192001"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 name="Овал 1">
            <a:extLst>
              <a:ext uri="{FF2B5EF4-FFF2-40B4-BE49-F238E27FC236}">
                <a16:creationId xmlns:a16="http://schemas.microsoft.com/office/drawing/2014/main" id="{B427CE1D-2E37-959D-13CA-152FB9D9C9A4}"/>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36774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1000"/>
                                        <p:tgtEl>
                                          <p:spTgt spid="15"/>
                                        </p:tgtEl>
                                      </p:cBhvr>
                                    </p:animEffect>
                                  </p:childTnLst>
                                </p:cTn>
                              </p:par>
                            </p:childTnLst>
                          </p:cTn>
                        </p:par>
                        <p:par>
                          <p:cTn id="8" fill="hold">
                            <p:stCondLst>
                              <p:cond delay="1000"/>
                            </p:stCondLst>
                            <p:childTnLst>
                              <p:par>
                                <p:cTn id="9" presetID="22" presetClass="entr" presetSubtype="8" fill="hold" nodeType="afterEffect">
                                  <p:stCondLst>
                                    <p:cond delay="100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1000"/>
                                        <p:tgtEl>
                                          <p:spTgt spid="17"/>
                                        </p:tgtEl>
                                      </p:cBhvr>
                                    </p:animEffect>
                                  </p:childTnLst>
                                </p:cTn>
                              </p:par>
                            </p:childTnLst>
                          </p:cTn>
                        </p:par>
                        <p:par>
                          <p:cTn id="12" fill="hold">
                            <p:stCondLst>
                              <p:cond delay="3000"/>
                            </p:stCondLst>
                            <p:childTnLst>
                              <p:par>
                                <p:cTn id="13" presetID="16" presetClass="entr" presetSubtype="37" fill="hold" grpId="0" nodeType="afterEffect">
                                  <p:stCondLst>
                                    <p:cond delay="1000"/>
                                  </p:stCondLst>
                                  <p:childTnLst>
                                    <p:set>
                                      <p:cBhvr>
                                        <p:cTn id="14" dur="1" fill="hold">
                                          <p:stCondLst>
                                            <p:cond delay="0"/>
                                          </p:stCondLst>
                                        </p:cTn>
                                        <p:tgtEl>
                                          <p:spTgt spid="13"/>
                                        </p:tgtEl>
                                        <p:attrNameLst>
                                          <p:attrName>style.visibility</p:attrName>
                                        </p:attrNameLst>
                                      </p:cBhvr>
                                      <p:to>
                                        <p:strVal val="visible"/>
                                      </p:to>
                                    </p:set>
                                    <p:animEffect transition="in" filter="barn(outVertical)">
                                      <p:cBhvr>
                                        <p:cTn id="15" dur="1000"/>
                                        <p:tgtEl>
                                          <p:spTgt spid="13"/>
                                        </p:tgtEl>
                                      </p:cBhvr>
                                    </p:animEffect>
                                  </p:childTnLst>
                                </p:cTn>
                              </p:par>
                              <p:par>
                                <p:cTn id="16" presetID="16" presetClass="entr" presetSubtype="37" fill="hold" grpId="0" nodeType="withEffect">
                                  <p:stCondLst>
                                    <p:cond delay="1000"/>
                                  </p:stCondLst>
                                  <p:childTnLst>
                                    <p:set>
                                      <p:cBhvr>
                                        <p:cTn id="17" dur="1" fill="hold">
                                          <p:stCondLst>
                                            <p:cond delay="0"/>
                                          </p:stCondLst>
                                        </p:cTn>
                                        <p:tgtEl>
                                          <p:spTgt spid="14"/>
                                        </p:tgtEl>
                                        <p:attrNameLst>
                                          <p:attrName>style.visibility</p:attrName>
                                        </p:attrNameLst>
                                      </p:cBhvr>
                                      <p:to>
                                        <p:strVal val="visible"/>
                                      </p:to>
                                    </p:set>
                                    <p:animEffect transition="in" filter="barn(outVertical)">
                                      <p:cBhvr>
                                        <p:cTn id="18"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кутник 5">
            <a:extLst>
              <a:ext uri="{FF2B5EF4-FFF2-40B4-BE49-F238E27FC236}">
                <a16:creationId xmlns:a16="http://schemas.microsoft.com/office/drawing/2014/main" id="{9DF9251D-7D85-4F8B-A202-3B4A7894A021}"/>
              </a:ext>
            </a:extLst>
          </p:cNvPr>
          <p:cNvSpPr/>
          <p:nvPr/>
        </p:nvSpPr>
        <p:spPr>
          <a:xfrm>
            <a:off x="982663"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8" name="Прямокутник 7">
            <a:extLst>
              <a:ext uri="{FF2B5EF4-FFF2-40B4-BE49-F238E27FC236}">
                <a16:creationId xmlns:a16="http://schemas.microsoft.com/office/drawing/2014/main" id="{0CBACD1C-30DC-450A-AE88-275A251DC93B}"/>
              </a:ext>
            </a:extLst>
          </p:cNvPr>
          <p:cNvSpPr/>
          <p:nvPr/>
        </p:nvSpPr>
        <p:spPr>
          <a:xfrm>
            <a:off x="982663"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9" name="Прямокутник 8">
            <a:extLst>
              <a:ext uri="{FF2B5EF4-FFF2-40B4-BE49-F238E27FC236}">
                <a16:creationId xmlns:a16="http://schemas.microsoft.com/office/drawing/2014/main" id="{4BE33A1F-F7B4-431B-85C0-F2D33DA30FFF}"/>
              </a:ext>
            </a:extLst>
          </p:cNvPr>
          <p:cNvSpPr/>
          <p:nvPr/>
        </p:nvSpPr>
        <p:spPr>
          <a:xfrm>
            <a:off x="4794251"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0" name="Прямокутник 9">
            <a:extLst>
              <a:ext uri="{FF2B5EF4-FFF2-40B4-BE49-F238E27FC236}">
                <a16:creationId xmlns:a16="http://schemas.microsoft.com/office/drawing/2014/main" id="{87B71B9E-E6D0-4365-BA6F-589E633DB5F8}"/>
              </a:ext>
            </a:extLst>
          </p:cNvPr>
          <p:cNvSpPr/>
          <p:nvPr/>
        </p:nvSpPr>
        <p:spPr>
          <a:xfrm>
            <a:off x="4794251"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1" name="Прямокутник 10">
            <a:extLst>
              <a:ext uri="{FF2B5EF4-FFF2-40B4-BE49-F238E27FC236}">
                <a16:creationId xmlns:a16="http://schemas.microsoft.com/office/drawing/2014/main" id="{44ABA8ED-7C8B-4598-B0CF-894B197C0238}"/>
              </a:ext>
            </a:extLst>
          </p:cNvPr>
          <p:cNvSpPr/>
          <p:nvPr/>
        </p:nvSpPr>
        <p:spPr>
          <a:xfrm>
            <a:off x="8605839"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12" name="Прямокутник 11">
            <a:extLst>
              <a:ext uri="{FF2B5EF4-FFF2-40B4-BE49-F238E27FC236}">
                <a16:creationId xmlns:a16="http://schemas.microsoft.com/office/drawing/2014/main" id="{5272252E-97E2-4BBE-8F25-68C3722344DF}"/>
              </a:ext>
            </a:extLst>
          </p:cNvPr>
          <p:cNvSpPr/>
          <p:nvPr/>
        </p:nvSpPr>
        <p:spPr>
          <a:xfrm>
            <a:off x="8605838"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cxnSp>
        <p:nvCxnSpPr>
          <p:cNvPr id="2" name="Пряма сполучна лінія 14">
            <a:extLst>
              <a:ext uri="{FF2B5EF4-FFF2-40B4-BE49-F238E27FC236}">
                <a16:creationId xmlns:a16="http://schemas.microsoft.com/office/drawing/2014/main" id="{2D16592E-CE40-314A-8F29-180F493A9C29}"/>
              </a:ext>
            </a:extLst>
          </p:cNvPr>
          <p:cNvCxnSpPr>
            <a:cxnSpLocks/>
          </p:cNvCxnSpPr>
          <p:nvPr/>
        </p:nvCxnSpPr>
        <p:spPr>
          <a:xfrm>
            <a:off x="951841" y="0"/>
            <a:ext cx="0" cy="685800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 name="Пряма сполучна лінія 28">
            <a:extLst>
              <a:ext uri="{FF2B5EF4-FFF2-40B4-BE49-F238E27FC236}">
                <a16:creationId xmlns:a16="http://schemas.microsoft.com/office/drawing/2014/main" id="{B692B59E-D7BD-969A-EC26-1D4D07BFF060}"/>
              </a:ext>
            </a:extLst>
          </p:cNvPr>
          <p:cNvCxnSpPr>
            <a:cxnSpLocks/>
          </p:cNvCxnSpPr>
          <p:nvPr/>
        </p:nvCxnSpPr>
        <p:spPr>
          <a:xfrm flipH="1">
            <a:off x="0" y="5868060"/>
            <a:ext cx="12192001"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Овал 3">
            <a:extLst>
              <a:ext uri="{FF2B5EF4-FFF2-40B4-BE49-F238E27FC236}">
                <a16:creationId xmlns:a16="http://schemas.microsoft.com/office/drawing/2014/main" id="{EBEBB592-F199-039B-658F-54EB837EAA7E}"/>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631721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Прямокутник 21">
            <a:extLst>
              <a:ext uri="{FF2B5EF4-FFF2-40B4-BE49-F238E27FC236}">
                <a16:creationId xmlns:a16="http://schemas.microsoft.com/office/drawing/2014/main" id="{3513C6ED-0F18-41C5-9B07-9D07E9162178}"/>
              </a:ext>
            </a:extLst>
          </p:cNvPr>
          <p:cNvSpPr/>
          <p:nvPr/>
        </p:nvSpPr>
        <p:spPr>
          <a:xfrm>
            <a:off x="982663"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23" name="Прямокутник 22">
            <a:extLst>
              <a:ext uri="{FF2B5EF4-FFF2-40B4-BE49-F238E27FC236}">
                <a16:creationId xmlns:a16="http://schemas.microsoft.com/office/drawing/2014/main" id="{3AF4A1BF-3F1E-4720-B72C-E314FC46EDCF}"/>
              </a:ext>
            </a:extLst>
          </p:cNvPr>
          <p:cNvSpPr/>
          <p:nvPr/>
        </p:nvSpPr>
        <p:spPr>
          <a:xfrm>
            <a:off x="982663"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24" name="Прямокутник 23">
            <a:extLst>
              <a:ext uri="{FF2B5EF4-FFF2-40B4-BE49-F238E27FC236}">
                <a16:creationId xmlns:a16="http://schemas.microsoft.com/office/drawing/2014/main" id="{F6AFC749-0566-4EC9-A110-6B1A1D7BBBCA}"/>
              </a:ext>
            </a:extLst>
          </p:cNvPr>
          <p:cNvSpPr/>
          <p:nvPr/>
        </p:nvSpPr>
        <p:spPr>
          <a:xfrm>
            <a:off x="4794251"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25" name="Прямокутник 24">
            <a:extLst>
              <a:ext uri="{FF2B5EF4-FFF2-40B4-BE49-F238E27FC236}">
                <a16:creationId xmlns:a16="http://schemas.microsoft.com/office/drawing/2014/main" id="{CE8CC05C-E4F0-4BA9-A52F-5534F4622902}"/>
              </a:ext>
            </a:extLst>
          </p:cNvPr>
          <p:cNvSpPr/>
          <p:nvPr/>
        </p:nvSpPr>
        <p:spPr>
          <a:xfrm>
            <a:off x="4794251"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26" name="Прямокутник 25">
            <a:extLst>
              <a:ext uri="{FF2B5EF4-FFF2-40B4-BE49-F238E27FC236}">
                <a16:creationId xmlns:a16="http://schemas.microsoft.com/office/drawing/2014/main" id="{66729E27-6D9C-4DC0-91EC-E0CAFA8CF1EB}"/>
              </a:ext>
            </a:extLst>
          </p:cNvPr>
          <p:cNvSpPr/>
          <p:nvPr/>
        </p:nvSpPr>
        <p:spPr>
          <a:xfrm>
            <a:off x="8605839" y="1020763"/>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sp>
        <p:nvSpPr>
          <p:cNvPr id="27" name="Прямокутник 26">
            <a:extLst>
              <a:ext uri="{FF2B5EF4-FFF2-40B4-BE49-F238E27FC236}">
                <a16:creationId xmlns:a16="http://schemas.microsoft.com/office/drawing/2014/main" id="{2B81CD19-A86A-43C1-B99F-73AD7BBA3861}"/>
              </a:ext>
            </a:extLst>
          </p:cNvPr>
          <p:cNvSpPr/>
          <p:nvPr/>
        </p:nvSpPr>
        <p:spPr>
          <a:xfrm>
            <a:off x="8605838" y="3754438"/>
            <a:ext cx="2603499" cy="2082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4000" dirty="0">
              <a:latin typeface="Franklin Gothic Heavy" panose="020B0903020102020204" pitchFamily="34" charset="0"/>
            </a:endParaRPr>
          </a:p>
        </p:txBody>
      </p:sp>
      <p:cxnSp>
        <p:nvCxnSpPr>
          <p:cNvPr id="28" name="Пряма сполучна лінія 27">
            <a:extLst>
              <a:ext uri="{FF2B5EF4-FFF2-40B4-BE49-F238E27FC236}">
                <a16:creationId xmlns:a16="http://schemas.microsoft.com/office/drawing/2014/main" id="{44687AAC-10B4-4730-94F0-E67A5BCE4538}"/>
              </a:ext>
            </a:extLst>
          </p:cNvPr>
          <p:cNvCxnSpPr>
            <a:cxnSpLocks/>
          </p:cNvCxnSpPr>
          <p:nvPr/>
        </p:nvCxnSpPr>
        <p:spPr>
          <a:xfrm>
            <a:off x="951841" y="0"/>
            <a:ext cx="0" cy="685800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9" name="Пряма сполучна лінія 28">
            <a:extLst>
              <a:ext uri="{FF2B5EF4-FFF2-40B4-BE49-F238E27FC236}">
                <a16:creationId xmlns:a16="http://schemas.microsoft.com/office/drawing/2014/main" id="{6BDB04EA-97E4-4928-9EAC-F26E218720F3}"/>
              </a:ext>
            </a:extLst>
          </p:cNvPr>
          <p:cNvCxnSpPr>
            <a:cxnSpLocks/>
          </p:cNvCxnSpPr>
          <p:nvPr/>
        </p:nvCxnSpPr>
        <p:spPr>
          <a:xfrm flipH="1">
            <a:off x="0" y="5868060"/>
            <a:ext cx="12192001"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0" name="Права фігурна дужка 29">
            <a:extLst>
              <a:ext uri="{FF2B5EF4-FFF2-40B4-BE49-F238E27FC236}">
                <a16:creationId xmlns:a16="http://schemas.microsoft.com/office/drawing/2014/main" id="{270BB73B-139A-4FFD-A384-4389F6C59C1E}"/>
              </a:ext>
            </a:extLst>
          </p:cNvPr>
          <p:cNvSpPr/>
          <p:nvPr/>
        </p:nvSpPr>
        <p:spPr>
          <a:xfrm rot="16200000">
            <a:off x="7816084" y="91280"/>
            <a:ext cx="371421" cy="1208087"/>
          </a:xfrm>
          <a:prstGeom prst="rightBrace">
            <a:avLst>
              <a:gd name="adj1" fmla="val 41700"/>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UA"/>
          </a:p>
        </p:txBody>
      </p:sp>
      <p:sp>
        <p:nvSpPr>
          <p:cNvPr id="31" name="Права фігурна дужка 30">
            <a:extLst>
              <a:ext uri="{FF2B5EF4-FFF2-40B4-BE49-F238E27FC236}">
                <a16:creationId xmlns:a16="http://schemas.microsoft.com/office/drawing/2014/main" id="{C61AB6D3-2C64-48E6-85C5-FF4A5A1DF26C}"/>
              </a:ext>
            </a:extLst>
          </p:cNvPr>
          <p:cNvSpPr/>
          <p:nvPr/>
        </p:nvSpPr>
        <p:spPr>
          <a:xfrm rot="16200000">
            <a:off x="3989086" y="91280"/>
            <a:ext cx="371421" cy="1208087"/>
          </a:xfrm>
          <a:prstGeom prst="rightBrace">
            <a:avLst>
              <a:gd name="adj1" fmla="val 41700"/>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UA"/>
          </a:p>
        </p:txBody>
      </p:sp>
      <p:sp>
        <p:nvSpPr>
          <p:cNvPr id="2" name="Овал 1">
            <a:extLst>
              <a:ext uri="{FF2B5EF4-FFF2-40B4-BE49-F238E27FC236}">
                <a16:creationId xmlns:a16="http://schemas.microsoft.com/office/drawing/2014/main" id="{A175CB4A-B103-944A-3C5B-97A763B119F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631918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Об'єкт 25" hidden="1">
            <a:extLst>
              <a:ext uri="{FF2B5EF4-FFF2-40B4-BE49-F238E27FC236}">
                <a16:creationId xmlns:a16="http://schemas.microsoft.com/office/drawing/2014/main" id="{7FB29B9B-E137-4262-9A2D-845437BD86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6" name="Об'єкт 25" hidden="1">
                        <a:extLst>
                          <a:ext uri="{FF2B5EF4-FFF2-40B4-BE49-F238E27FC236}">
                            <a16:creationId xmlns:a16="http://schemas.microsoft.com/office/drawing/2014/main" id="{7FB29B9B-E137-4262-9A2D-845437BD8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Рисунок 2">
            <a:extLst>
              <a:ext uri="{FF2B5EF4-FFF2-40B4-BE49-F238E27FC236}">
                <a16:creationId xmlns:a16="http://schemas.microsoft.com/office/drawing/2014/main" id="{29AF1E3B-3827-4E60-A685-17E32297246E}"/>
              </a:ext>
            </a:extLst>
          </p:cNvPr>
          <p:cNvPicPr>
            <a:picLocks noChangeAspect="1"/>
          </p:cNvPicPr>
          <p:nvPr/>
        </p:nvPicPr>
        <p:blipFill>
          <a:blip r:embed="rId5">
            <a:extLst>
              <a:ext uri="{BEBA8EAE-BF5A-486C-A8C5-ECC9F3942E4B}">
                <a14:imgProps xmlns:a14="http://schemas.microsoft.com/office/drawing/2010/main">
                  <a14:imgLayer r:embed="rId6">
                    <a14:imgEffect>
                      <a14:saturation sat="66000"/>
                    </a14:imgEffect>
                  </a14:imgLayer>
                </a14:imgProps>
              </a:ext>
            </a:extLst>
          </a:blip>
          <a:stretch>
            <a:fillRect/>
          </a:stretch>
        </p:blipFill>
        <p:spPr>
          <a:xfrm>
            <a:off x="1776000" y="999985"/>
            <a:ext cx="8640000" cy="485803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7" name="Прямокутник 6">
            <a:extLst>
              <a:ext uri="{FF2B5EF4-FFF2-40B4-BE49-F238E27FC236}">
                <a16:creationId xmlns:a16="http://schemas.microsoft.com/office/drawing/2014/main" id="{F776007D-599D-4417-AA18-C0B2F53717DB}"/>
              </a:ext>
            </a:extLst>
          </p:cNvPr>
          <p:cNvSpPr/>
          <p:nvPr/>
        </p:nvSpPr>
        <p:spPr>
          <a:xfrm>
            <a:off x="1142820" y="66665"/>
            <a:ext cx="2370638"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тут вирівняно</a:t>
            </a:r>
            <a:endParaRPr lang="en-US" sz="1600" dirty="0">
              <a:solidFill>
                <a:schemeClr val="tx1"/>
              </a:solidFill>
              <a:latin typeface="+mj-lt"/>
            </a:endParaRPr>
          </a:p>
        </p:txBody>
      </p:sp>
      <p:sp>
        <p:nvSpPr>
          <p:cNvPr id="8" name="Прямокутник 7">
            <a:extLst>
              <a:ext uri="{FF2B5EF4-FFF2-40B4-BE49-F238E27FC236}">
                <a16:creationId xmlns:a16="http://schemas.microsoft.com/office/drawing/2014/main" id="{64ADB712-13EF-4D90-8F80-A9FE42FB653F}"/>
              </a:ext>
            </a:extLst>
          </p:cNvPr>
          <p:cNvSpPr/>
          <p:nvPr/>
        </p:nvSpPr>
        <p:spPr>
          <a:xfrm>
            <a:off x="2785445" y="4995907"/>
            <a:ext cx="2009226"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і тут вирівняно</a:t>
            </a:r>
            <a:endParaRPr lang="en-US" sz="1600" dirty="0">
              <a:solidFill>
                <a:schemeClr val="tx1"/>
              </a:solidFill>
              <a:latin typeface="+mj-lt"/>
            </a:endParaRPr>
          </a:p>
        </p:txBody>
      </p:sp>
      <p:cxnSp>
        <p:nvCxnSpPr>
          <p:cNvPr id="9" name="Пряма сполучна лінія 8">
            <a:extLst>
              <a:ext uri="{FF2B5EF4-FFF2-40B4-BE49-F238E27FC236}">
                <a16:creationId xmlns:a16="http://schemas.microsoft.com/office/drawing/2014/main" id="{C3F40EC9-EE99-437F-B7AB-08B171A7C33A}"/>
              </a:ext>
            </a:extLst>
          </p:cNvPr>
          <p:cNvCxnSpPr>
            <a:cxnSpLocks/>
          </p:cNvCxnSpPr>
          <p:nvPr/>
        </p:nvCxnSpPr>
        <p:spPr>
          <a:xfrm>
            <a:off x="2443395" y="999985"/>
            <a:ext cx="0" cy="485803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 name="Пряма сполучна лінія 9">
            <a:extLst>
              <a:ext uri="{FF2B5EF4-FFF2-40B4-BE49-F238E27FC236}">
                <a16:creationId xmlns:a16="http://schemas.microsoft.com/office/drawing/2014/main" id="{8932D343-6B7C-4877-AF62-F08E778B133D}"/>
              </a:ext>
            </a:extLst>
          </p:cNvPr>
          <p:cNvCxnSpPr>
            <a:cxnSpLocks/>
          </p:cNvCxnSpPr>
          <p:nvPr/>
        </p:nvCxnSpPr>
        <p:spPr>
          <a:xfrm>
            <a:off x="9748320" y="999985"/>
            <a:ext cx="0" cy="485803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 name="Пряма сполучна лінія 10">
            <a:extLst>
              <a:ext uri="{FF2B5EF4-FFF2-40B4-BE49-F238E27FC236}">
                <a16:creationId xmlns:a16="http://schemas.microsoft.com/office/drawing/2014/main" id="{2651F66F-B0C3-448E-96BF-D22AD97C4A61}"/>
              </a:ext>
            </a:extLst>
          </p:cNvPr>
          <p:cNvCxnSpPr>
            <a:cxnSpLocks/>
          </p:cNvCxnSpPr>
          <p:nvPr/>
        </p:nvCxnSpPr>
        <p:spPr>
          <a:xfrm flipH="1">
            <a:off x="1776000" y="3315986"/>
            <a:ext cx="8640000" cy="0"/>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6" descr="Index Pointing Up on Apple iOS 14.2">
            <a:extLst>
              <a:ext uri="{FF2B5EF4-FFF2-40B4-BE49-F238E27FC236}">
                <a16:creationId xmlns:a16="http://schemas.microsoft.com/office/drawing/2014/main" id="{71B0610D-7D13-446D-A49B-EA11932132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0058" y="427954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Index Pointing Up on Apple iOS 14.2">
            <a:extLst>
              <a:ext uri="{FF2B5EF4-FFF2-40B4-BE49-F238E27FC236}">
                <a16:creationId xmlns:a16="http://schemas.microsoft.com/office/drawing/2014/main" id="{3BC9B727-032D-4D97-AC32-2F6495581E9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97680" y="4259276"/>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Index Pointing Up on Apple iOS 14.2">
            <a:extLst>
              <a:ext uri="{FF2B5EF4-FFF2-40B4-BE49-F238E27FC236}">
                <a16:creationId xmlns:a16="http://schemas.microsoft.com/office/drawing/2014/main" id="{8D027A31-78DE-469B-83FE-FF5FA4A8CD0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59609" y="4259276"/>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Index Pointing Up on Apple iOS 14.2">
            <a:extLst>
              <a:ext uri="{FF2B5EF4-FFF2-40B4-BE49-F238E27FC236}">
                <a16:creationId xmlns:a16="http://schemas.microsoft.com/office/drawing/2014/main" id="{DC224783-EC87-4E36-8DBA-10C9F4F05ED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21538" y="4259276"/>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3" name="Прямокутник 22">
            <a:extLst>
              <a:ext uri="{FF2B5EF4-FFF2-40B4-BE49-F238E27FC236}">
                <a16:creationId xmlns:a16="http://schemas.microsoft.com/office/drawing/2014/main" id="{B4CC1107-5D78-4B74-AC9C-46C8CD2FD60F}"/>
              </a:ext>
            </a:extLst>
          </p:cNvPr>
          <p:cNvSpPr/>
          <p:nvPr/>
        </p:nvSpPr>
        <p:spPr>
          <a:xfrm>
            <a:off x="5120941" y="4535337"/>
            <a:ext cx="40389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800" dirty="0">
                <a:solidFill>
                  <a:schemeClr val="tx1"/>
                </a:solidFill>
                <a:latin typeface="+mj-lt"/>
              </a:rPr>
              <a:t>і тут</a:t>
            </a:r>
            <a:endParaRPr lang="en-US" sz="800" dirty="0">
              <a:solidFill>
                <a:schemeClr val="tx1"/>
              </a:solidFill>
              <a:latin typeface="+mj-lt"/>
            </a:endParaRPr>
          </a:p>
        </p:txBody>
      </p:sp>
      <p:sp>
        <p:nvSpPr>
          <p:cNvPr id="24" name="Прямокутник 23">
            <a:extLst>
              <a:ext uri="{FF2B5EF4-FFF2-40B4-BE49-F238E27FC236}">
                <a16:creationId xmlns:a16="http://schemas.microsoft.com/office/drawing/2014/main" id="{77D9E680-F7C3-42E2-8FA9-BCD1077A8CFD}"/>
              </a:ext>
            </a:extLst>
          </p:cNvPr>
          <p:cNvSpPr/>
          <p:nvPr/>
        </p:nvSpPr>
        <p:spPr>
          <a:xfrm>
            <a:off x="6582870" y="4535337"/>
            <a:ext cx="40389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800" dirty="0">
                <a:solidFill>
                  <a:schemeClr val="tx1"/>
                </a:solidFill>
                <a:latin typeface="+mj-lt"/>
              </a:rPr>
              <a:t>і тут</a:t>
            </a:r>
            <a:endParaRPr lang="en-US" sz="800" dirty="0">
              <a:solidFill>
                <a:schemeClr val="tx1"/>
              </a:solidFill>
              <a:latin typeface="+mj-lt"/>
            </a:endParaRPr>
          </a:p>
        </p:txBody>
      </p:sp>
      <p:sp>
        <p:nvSpPr>
          <p:cNvPr id="25" name="Прямокутник 24">
            <a:extLst>
              <a:ext uri="{FF2B5EF4-FFF2-40B4-BE49-F238E27FC236}">
                <a16:creationId xmlns:a16="http://schemas.microsoft.com/office/drawing/2014/main" id="{3A32A843-E175-4C3D-82C0-0ED66D96DDB5}"/>
              </a:ext>
            </a:extLst>
          </p:cNvPr>
          <p:cNvSpPr/>
          <p:nvPr/>
        </p:nvSpPr>
        <p:spPr>
          <a:xfrm>
            <a:off x="8045588" y="4535337"/>
            <a:ext cx="40389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800" dirty="0">
                <a:solidFill>
                  <a:schemeClr val="tx1"/>
                </a:solidFill>
                <a:latin typeface="+mj-lt"/>
              </a:rPr>
              <a:t>і тут</a:t>
            </a:r>
            <a:endParaRPr lang="en-US" sz="800" dirty="0">
              <a:solidFill>
                <a:schemeClr val="tx1"/>
              </a:solidFill>
              <a:latin typeface="+mj-lt"/>
            </a:endParaRPr>
          </a:p>
        </p:txBody>
      </p:sp>
      <p:pic>
        <p:nvPicPr>
          <p:cNvPr id="4" name="Picture 4" descr="Backhand Index Pointing Right on Apple iOS 14.2">
            <a:extLst>
              <a:ext uri="{FF2B5EF4-FFF2-40B4-BE49-F238E27FC236}">
                <a16:creationId xmlns:a16="http://schemas.microsoft.com/office/drawing/2014/main" id="{8C1B8D82-1BD9-4DFB-BC48-86650B8A42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2035783" y="494529"/>
            <a:ext cx="726905" cy="726905"/>
          </a:xfrm>
          <a:prstGeom prst="rect">
            <a:avLst/>
          </a:prstGeom>
          <a:noFill/>
          <a:extLst>
            <a:ext uri="{909E8E84-426E-40DD-AFC4-6F175D3DCCD1}">
              <a14:hiddenFill xmlns:a14="http://schemas.microsoft.com/office/drawing/2010/main">
                <a:solidFill>
                  <a:srgbClr val="FFFFFF"/>
                </a:solidFill>
              </a14:hiddenFill>
            </a:ext>
          </a:extLst>
        </p:spPr>
      </p:pic>
      <p:sp>
        <p:nvSpPr>
          <p:cNvPr id="27" name="Прямокутник 26">
            <a:extLst>
              <a:ext uri="{FF2B5EF4-FFF2-40B4-BE49-F238E27FC236}">
                <a16:creationId xmlns:a16="http://schemas.microsoft.com/office/drawing/2014/main" id="{B0D645A2-348C-4A5F-AFFF-655F9D6CDB3A}"/>
              </a:ext>
            </a:extLst>
          </p:cNvPr>
          <p:cNvSpPr/>
          <p:nvPr/>
        </p:nvSpPr>
        <p:spPr>
          <a:xfrm>
            <a:off x="8433724" y="66665"/>
            <a:ext cx="2370638"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тут також</a:t>
            </a:r>
            <a:endParaRPr lang="en-US" sz="1600" dirty="0">
              <a:solidFill>
                <a:schemeClr val="tx1"/>
              </a:solidFill>
              <a:latin typeface="+mj-lt"/>
            </a:endParaRPr>
          </a:p>
        </p:txBody>
      </p:sp>
      <p:pic>
        <p:nvPicPr>
          <p:cNvPr id="28" name="Picture 4" descr="Backhand Index Pointing Right on Apple iOS 14.2">
            <a:extLst>
              <a:ext uri="{FF2B5EF4-FFF2-40B4-BE49-F238E27FC236}">
                <a16:creationId xmlns:a16="http://schemas.microsoft.com/office/drawing/2014/main" id="{0E6609F6-55B0-4B12-903D-F0711387152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5400000">
            <a:off x="9326687" y="494529"/>
            <a:ext cx="726905" cy="72690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Backhand Index Pointing Right on Apple iOS 14.2">
            <a:extLst>
              <a:ext uri="{FF2B5EF4-FFF2-40B4-BE49-F238E27FC236}">
                <a16:creationId xmlns:a16="http://schemas.microsoft.com/office/drawing/2014/main" id="{B23A92B2-ED7B-4503-B4AB-2FAB07DFE5D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41147" y="3017422"/>
            <a:ext cx="726905" cy="726905"/>
          </a:xfrm>
          <a:prstGeom prst="rect">
            <a:avLst/>
          </a:prstGeom>
          <a:noFill/>
          <a:extLst>
            <a:ext uri="{909E8E84-426E-40DD-AFC4-6F175D3DCCD1}">
              <a14:hiddenFill xmlns:a14="http://schemas.microsoft.com/office/drawing/2010/main">
                <a:solidFill>
                  <a:srgbClr val="FFFFFF"/>
                </a:solidFill>
              </a14:hiddenFill>
            </a:ext>
          </a:extLst>
        </p:spPr>
      </p:pic>
      <p:sp>
        <p:nvSpPr>
          <p:cNvPr id="30" name="Прямокутник 29">
            <a:extLst>
              <a:ext uri="{FF2B5EF4-FFF2-40B4-BE49-F238E27FC236}">
                <a16:creationId xmlns:a16="http://schemas.microsoft.com/office/drawing/2014/main" id="{38FC23DE-8CDA-4558-80D1-E74C1F71B7E7}"/>
              </a:ext>
            </a:extLst>
          </p:cNvPr>
          <p:cNvSpPr/>
          <p:nvPr/>
        </p:nvSpPr>
        <p:spPr>
          <a:xfrm>
            <a:off x="135465" y="3223704"/>
            <a:ext cx="1513841"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uk-UA" sz="1600" dirty="0">
                <a:solidFill>
                  <a:schemeClr val="tx1"/>
                </a:solidFill>
                <a:latin typeface="+mj-lt"/>
              </a:rPr>
              <a:t>і ще тут</a:t>
            </a:r>
            <a:endParaRPr lang="en-US" sz="1600" dirty="0">
              <a:solidFill>
                <a:schemeClr val="tx1"/>
              </a:solidFill>
              <a:latin typeface="+mj-lt"/>
            </a:endParaRPr>
          </a:p>
        </p:txBody>
      </p:sp>
      <p:sp>
        <p:nvSpPr>
          <p:cNvPr id="2" name="Овал 1">
            <a:extLst>
              <a:ext uri="{FF2B5EF4-FFF2-40B4-BE49-F238E27FC236}">
                <a16:creationId xmlns:a16="http://schemas.microsoft.com/office/drawing/2014/main" id="{15E48F4F-FC48-DDA1-0E20-41F837B2067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403821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2. Як будете </a:t>
            </a:r>
            <a:r>
              <a:rPr lang="ru-RU" dirty="0" err="1">
                <a:solidFill>
                  <a:schemeClr val="accent1"/>
                </a:solidFill>
              </a:rPr>
              <a:t>використовувати</a:t>
            </a:r>
            <a:endParaRPr lang="ru-RU" dirty="0">
              <a:solidFill>
                <a:schemeClr val="accent1"/>
              </a:solidFill>
            </a:endParaRPr>
          </a:p>
        </p:txBody>
      </p:sp>
      <p:grpSp>
        <p:nvGrpSpPr>
          <p:cNvPr id="11" name="Группа 10">
            <a:extLst>
              <a:ext uri="{FF2B5EF4-FFF2-40B4-BE49-F238E27FC236}">
                <a16:creationId xmlns:a16="http://schemas.microsoft.com/office/drawing/2014/main" id="{CCFD80F7-7114-4728-8066-ED9F5AF028BC}"/>
              </a:ext>
            </a:extLst>
          </p:cNvPr>
          <p:cNvGrpSpPr/>
          <p:nvPr/>
        </p:nvGrpSpPr>
        <p:grpSpPr>
          <a:xfrm>
            <a:off x="814388" y="2133600"/>
            <a:ext cx="5283200" cy="4220574"/>
            <a:chOff x="814388" y="2133600"/>
            <a:chExt cx="3841558" cy="3068894"/>
          </a:xfrm>
        </p:grpSpPr>
        <p:pic>
          <p:nvPicPr>
            <p:cNvPr id="2" name="Рисунок 1">
              <a:extLst>
                <a:ext uri="{FF2B5EF4-FFF2-40B4-BE49-F238E27FC236}">
                  <a16:creationId xmlns:a16="http://schemas.microsoft.com/office/drawing/2014/main" id="{85D1AAD3-D4E2-4A2E-BBB6-47ADD4918934}"/>
                </a:ext>
              </a:extLst>
            </p:cNvPr>
            <p:cNvPicPr>
              <a:picLocks noChangeAspect="1"/>
            </p:cNvPicPr>
            <p:nvPr/>
          </p:nvPicPr>
          <p:blipFill>
            <a:blip r:embed="rId5"/>
            <a:stretch>
              <a:fillRect/>
            </a:stretch>
          </p:blipFill>
          <p:spPr>
            <a:xfrm>
              <a:off x="814388" y="2133600"/>
              <a:ext cx="3841558"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6" name="Прямокутник: округлені кути 7">
              <a:extLst>
                <a:ext uri="{FF2B5EF4-FFF2-40B4-BE49-F238E27FC236}">
                  <a16:creationId xmlns:a16="http://schemas.microsoft.com/office/drawing/2014/main" id="{2AB89455-5F6D-53BC-9EDE-0D3ADDA986EC}"/>
                </a:ext>
              </a:extLst>
            </p:cNvPr>
            <p:cNvSpPr/>
            <p:nvPr/>
          </p:nvSpPr>
          <p:spPr>
            <a:xfrm>
              <a:off x="1295167" y="4644276"/>
              <a:ext cx="2880000" cy="55821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spcAft>
                  <a:spcPts val="1200"/>
                </a:spcAft>
              </a:pPr>
              <a:r>
                <a:rPr lang="uk-UA" dirty="0">
                  <a:solidFill>
                    <a:schemeClr val="tx1"/>
                  </a:solidFill>
                  <a:latin typeface="+mj-lt"/>
                </a:rPr>
                <a:t>Щоб була на фоні</a:t>
              </a:r>
            </a:p>
          </p:txBody>
        </p:sp>
      </p:grpSp>
    </p:spTree>
    <p:extLst>
      <p:ext uri="{BB962C8B-B14F-4D97-AF65-F5344CB8AC3E}">
        <p14:creationId xmlns:p14="http://schemas.microsoft.com/office/powerpoint/2010/main" val="42813463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CF2BB424-F0DA-61D3-FABA-A7B73AAE46CF}"/>
              </a:ext>
            </a:extLst>
          </p:cNvPr>
          <p:cNvSpPr>
            <a:spLocks noGrp="1"/>
          </p:cNvSpPr>
          <p:nvPr>
            <p:ph type="body" sz="quarter" idx="10"/>
          </p:nvPr>
        </p:nvSpPr>
        <p:spPr/>
        <p:txBody>
          <a:bodyPr/>
          <a:lstStyle/>
          <a:p>
            <a:r>
              <a:rPr lang="ru-RU" dirty="0" err="1">
                <a:solidFill>
                  <a:schemeClr val="accent1"/>
                </a:solidFill>
              </a:rPr>
              <a:t>Елементи</a:t>
            </a:r>
            <a:r>
              <a:rPr lang="ru-RU" dirty="0">
                <a:solidFill>
                  <a:schemeClr val="accent1"/>
                </a:solidFill>
              </a:rPr>
              <a:t> на </a:t>
            </a:r>
            <a:r>
              <a:rPr lang="ru-RU" dirty="0" err="1">
                <a:solidFill>
                  <a:schemeClr val="accent1"/>
                </a:solidFill>
              </a:rPr>
              <a:t>слайді</a:t>
            </a:r>
            <a:r>
              <a:rPr lang="ru-RU" dirty="0">
                <a:solidFill>
                  <a:schemeClr val="accent1"/>
                </a:solidFill>
              </a:rPr>
              <a:t> </a:t>
            </a:r>
            <a:r>
              <a:rPr lang="ru-RU" dirty="0" err="1">
                <a:solidFill>
                  <a:schemeClr val="accent1"/>
                </a:solidFill>
              </a:rPr>
              <a:t>повинні</a:t>
            </a:r>
            <a:r>
              <a:rPr lang="ru-RU" dirty="0">
                <a:solidFill>
                  <a:schemeClr val="accent1"/>
                </a:solidFill>
              </a:rPr>
              <a:t> </a:t>
            </a:r>
            <a:r>
              <a:rPr lang="ru-RU" dirty="0" err="1">
                <a:solidFill>
                  <a:schemeClr val="accent1"/>
                </a:solidFill>
              </a:rPr>
              <a:t>давати</a:t>
            </a:r>
            <a:r>
              <a:rPr lang="ru-RU" dirty="0">
                <a:solidFill>
                  <a:schemeClr val="accent1"/>
                </a:solidFill>
              </a:rPr>
              <a:t> </a:t>
            </a:r>
            <a:r>
              <a:rPr lang="ru-RU" dirty="0" err="1">
                <a:solidFill>
                  <a:schemeClr val="accent1"/>
                </a:solidFill>
              </a:rPr>
              <a:t>йому</a:t>
            </a:r>
            <a:r>
              <a:rPr lang="ru-RU" dirty="0">
                <a:solidFill>
                  <a:schemeClr val="accent1"/>
                </a:solidFill>
              </a:rPr>
              <a:t> </a:t>
            </a:r>
            <a:r>
              <a:rPr lang="ru-RU" dirty="0" err="1">
                <a:solidFill>
                  <a:schemeClr val="accent5"/>
                </a:solidFill>
              </a:rPr>
              <a:t>дихати</a:t>
            </a:r>
            <a:r>
              <a:rPr lang="ru-RU" dirty="0">
                <a:solidFill>
                  <a:schemeClr val="accent5"/>
                </a:solidFill>
              </a:rPr>
              <a:t>,</a:t>
            </a:r>
            <a:r>
              <a:rPr lang="ru-RU" dirty="0">
                <a:solidFill>
                  <a:schemeClr val="accent1"/>
                </a:solidFill>
              </a:rPr>
              <a:t> а не </a:t>
            </a:r>
            <a:r>
              <a:rPr lang="ru-RU" dirty="0" err="1">
                <a:solidFill>
                  <a:schemeClr val="accent1"/>
                </a:solidFill>
              </a:rPr>
              <a:t>зажимати</a:t>
            </a:r>
            <a:r>
              <a:rPr lang="ru-RU" dirty="0">
                <a:solidFill>
                  <a:schemeClr val="accent1"/>
                </a:solidFill>
              </a:rPr>
              <a:t> </a:t>
            </a:r>
            <a:r>
              <a:rPr lang="ru-RU" dirty="0" err="1">
                <a:solidFill>
                  <a:schemeClr val="accent1"/>
                </a:solidFill>
              </a:rPr>
              <a:t>зі</a:t>
            </a:r>
            <a:r>
              <a:rPr lang="ru-RU" dirty="0">
                <a:solidFill>
                  <a:schemeClr val="accent1"/>
                </a:solidFill>
              </a:rPr>
              <a:t> </a:t>
            </a:r>
            <a:r>
              <a:rPr lang="ru-RU" dirty="0" err="1">
                <a:solidFill>
                  <a:schemeClr val="accent1"/>
                </a:solidFill>
              </a:rPr>
              <a:t>всіх</a:t>
            </a:r>
            <a:r>
              <a:rPr lang="ru-RU" dirty="0">
                <a:solidFill>
                  <a:schemeClr val="accent1"/>
                </a:solidFill>
              </a:rPr>
              <a:t> </a:t>
            </a:r>
            <a:r>
              <a:rPr lang="ru-RU" dirty="0" err="1">
                <a:solidFill>
                  <a:schemeClr val="accent1"/>
                </a:solidFill>
              </a:rPr>
              <a:t>сторін</a:t>
            </a:r>
            <a:endParaRPr lang="ru-UA" dirty="0">
              <a:solidFill>
                <a:schemeClr val="accent1"/>
              </a:solidFill>
            </a:endParaRPr>
          </a:p>
        </p:txBody>
      </p:sp>
      <p:grpSp>
        <p:nvGrpSpPr>
          <p:cNvPr id="21" name="Группа 20">
            <a:extLst>
              <a:ext uri="{FF2B5EF4-FFF2-40B4-BE49-F238E27FC236}">
                <a16:creationId xmlns:a16="http://schemas.microsoft.com/office/drawing/2014/main" id="{90E17CF6-4CF9-00E5-0556-2A7364BC0EB4}"/>
              </a:ext>
            </a:extLst>
          </p:cNvPr>
          <p:cNvGrpSpPr/>
          <p:nvPr/>
        </p:nvGrpSpPr>
        <p:grpSpPr>
          <a:xfrm>
            <a:off x="5074386" y="2133600"/>
            <a:ext cx="3600000" cy="4095198"/>
            <a:chOff x="4440540" y="2133600"/>
            <a:chExt cx="3600000" cy="4095198"/>
          </a:xfrm>
        </p:grpSpPr>
        <p:sp>
          <p:nvSpPr>
            <p:cNvPr id="22" name="Прямокутник 52">
              <a:extLst>
                <a:ext uri="{FF2B5EF4-FFF2-40B4-BE49-F238E27FC236}">
                  <a16:creationId xmlns:a16="http://schemas.microsoft.com/office/drawing/2014/main" id="{F129984C-F652-4C35-3B83-46872389FAB8}"/>
                </a:ext>
              </a:extLst>
            </p:cNvPr>
            <p:cNvSpPr/>
            <p:nvPr/>
          </p:nvSpPr>
          <p:spPr>
            <a:xfrm>
              <a:off x="4440540" y="2133600"/>
              <a:ext cx="3600000" cy="4095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uk-UA" dirty="0">
                  <a:solidFill>
                    <a:schemeClr val="tx1"/>
                  </a:solidFill>
                  <a:latin typeface="+mj-lt"/>
                </a:rPr>
                <a:t>Максимально </a:t>
              </a:r>
              <a:r>
                <a:rPr lang="uk-UA" dirty="0" err="1">
                  <a:solidFill>
                    <a:schemeClr val="tx1"/>
                  </a:solidFill>
                  <a:latin typeface="+mj-lt"/>
                </a:rPr>
                <a:t>ок</a:t>
              </a:r>
              <a:endParaRPr lang="en-US" dirty="0">
                <a:solidFill>
                  <a:schemeClr val="tx1"/>
                </a:solidFill>
                <a:latin typeface="+mj-lt"/>
              </a:endParaRPr>
            </a:p>
          </p:txBody>
        </p:sp>
        <p:grpSp>
          <p:nvGrpSpPr>
            <p:cNvPr id="23" name="Группа 22">
              <a:extLst>
                <a:ext uri="{FF2B5EF4-FFF2-40B4-BE49-F238E27FC236}">
                  <a16:creationId xmlns:a16="http://schemas.microsoft.com/office/drawing/2014/main" id="{42A86D67-5C2C-E16F-813C-EE3ABD155EC6}"/>
                </a:ext>
              </a:extLst>
            </p:cNvPr>
            <p:cNvGrpSpPr/>
            <p:nvPr/>
          </p:nvGrpSpPr>
          <p:grpSpPr>
            <a:xfrm>
              <a:off x="4837453" y="3040338"/>
              <a:ext cx="2806174" cy="2281722"/>
              <a:chOff x="4966228" y="3040338"/>
              <a:chExt cx="2806174" cy="2281722"/>
            </a:xfrm>
          </p:grpSpPr>
          <p:sp>
            <p:nvSpPr>
              <p:cNvPr id="24" name="Прямокутник 55">
                <a:extLst>
                  <a:ext uri="{FF2B5EF4-FFF2-40B4-BE49-F238E27FC236}">
                    <a16:creationId xmlns:a16="http://schemas.microsoft.com/office/drawing/2014/main" id="{4FB44D6C-390F-A621-8EB6-C142D71EC410}"/>
                  </a:ext>
                </a:extLst>
              </p:cNvPr>
              <p:cNvSpPr/>
              <p:nvPr/>
            </p:nvSpPr>
            <p:spPr>
              <a:xfrm>
                <a:off x="5731347" y="3040338"/>
                <a:ext cx="2041054"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Контраст </a:t>
                </a:r>
              </a:p>
            </p:txBody>
          </p:sp>
          <p:sp>
            <p:nvSpPr>
              <p:cNvPr id="25" name="Прямокутник: округлені кути 56">
                <a:extLst>
                  <a:ext uri="{FF2B5EF4-FFF2-40B4-BE49-F238E27FC236}">
                    <a16:creationId xmlns:a16="http://schemas.microsoft.com/office/drawing/2014/main" id="{789E8091-1B28-3E61-9BB4-1443A61E82CE}"/>
                  </a:ext>
                </a:extLst>
              </p:cNvPr>
              <p:cNvSpPr/>
              <p:nvPr/>
            </p:nvSpPr>
            <p:spPr>
              <a:xfrm>
                <a:off x="4966228" y="3040338"/>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26" name="Прямокутник: округлені кути 57">
                <a:extLst>
                  <a:ext uri="{FF2B5EF4-FFF2-40B4-BE49-F238E27FC236}">
                    <a16:creationId xmlns:a16="http://schemas.microsoft.com/office/drawing/2014/main" id="{B01C4596-0AB2-BB02-9752-9054D316AB71}"/>
                  </a:ext>
                </a:extLst>
              </p:cNvPr>
              <p:cNvSpPr/>
              <p:nvPr/>
            </p:nvSpPr>
            <p:spPr>
              <a:xfrm>
                <a:off x="4966228" y="391119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27" name="Прямокутник: округлені кути 58">
                <a:extLst>
                  <a:ext uri="{FF2B5EF4-FFF2-40B4-BE49-F238E27FC236}">
                    <a16:creationId xmlns:a16="http://schemas.microsoft.com/office/drawing/2014/main" id="{609967C1-9D6A-122A-EE89-6CB4E5CE18C0}"/>
                  </a:ext>
                </a:extLst>
              </p:cNvPr>
              <p:cNvSpPr/>
              <p:nvPr/>
            </p:nvSpPr>
            <p:spPr>
              <a:xfrm>
                <a:off x="4966228" y="4782060"/>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28" name="Прямокутник 59">
                <a:extLst>
                  <a:ext uri="{FF2B5EF4-FFF2-40B4-BE49-F238E27FC236}">
                    <a16:creationId xmlns:a16="http://schemas.microsoft.com/office/drawing/2014/main" id="{8BF9F3E3-0EE1-C1B9-CCAF-28D5E7FE8D19}"/>
                  </a:ext>
                </a:extLst>
              </p:cNvPr>
              <p:cNvSpPr/>
              <p:nvPr/>
            </p:nvSpPr>
            <p:spPr>
              <a:xfrm>
                <a:off x="5731347" y="3911199"/>
                <a:ext cx="2041054"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800" dirty="0">
                    <a:solidFill>
                      <a:schemeClr val="tx1"/>
                    </a:solidFill>
                    <a:ea typeface="Roboto Black" panose="02000000000000000000" pitchFamily="2" charset="0"/>
                  </a:rPr>
                  <a:t>Вирівнювання </a:t>
                </a:r>
              </a:p>
            </p:txBody>
          </p:sp>
          <p:sp>
            <p:nvSpPr>
              <p:cNvPr id="29" name="Прямокутник 60">
                <a:extLst>
                  <a:ext uri="{FF2B5EF4-FFF2-40B4-BE49-F238E27FC236}">
                    <a16:creationId xmlns:a16="http://schemas.microsoft.com/office/drawing/2014/main" id="{1AF1AEA6-13D4-3F65-7613-97E876495108}"/>
                  </a:ext>
                </a:extLst>
              </p:cNvPr>
              <p:cNvSpPr/>
              <p:nvPr/>
            </p:nvSpPr>
            <p:spPr>
              <a:xfrm>
                <a:off x="5731348" y="4782060"/>
                <a:ext cx="2041054"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Повітря</a:t>
                </a:r>
                <a:r>
                  <a:rPr lang="ru-RU" sz="1800" dirty="0">
                    <a:solidFill>
                      <a:schemeClr val="tx1"/>
                    </a:solidFill>
                    <a:ea typeface="Roboto Black" panose="02000000000000000000" pitchFamily="2" charset="0"/>
                  </a:rPr>
                  <a:t> на </a:t>
                </a:r>
                <a:r>
                  <a:rPr lang="ru-RU" sz="1800" dirty="0" err="1">
                    <a:solidFill>
                      <a:schemeClr val="tx1"/>
                    </a:solidFill>
                    <a:ea typeface="Roboto Black" panose="02000000000000000000" pitchFamily="2" charset="0"/>
                  </a:rPr>
                  <a:t>слайді</a:t>
                </a:r>
                <a:endParaRPr lang="ru-RU" sz="1800" dirty="0">
                  <a:solidFill>
                    <a:schemeClr val="tx1"/>
                  </a:solidFill>
                  <a:ea typeface="Roboto Black" panose="02000000000000000000" pitchFamily="2" charset="0"/>
                </a:endParaRPr>
              </a:p>
            </p:txBody>
          </p:sp>
        </p:grpSp>
      </p:grpSp>
      <p:grpSp>
        <p:nvGrpSpPr>
          <p:cNvPr id="30" name="Группа 29">
            <a:extLst>
              <a:ext uri="{FF2B5EF4-FFF2-40B4-BE49-F238E27FC236}">
                <a16:creationId xmlns:a16="http://schemas.microsoft.com/office/drawing/2014/main" id="{7CBC1EC3-1FA7-2BE4-BA99-083E504D0ADC}"/>
              </a:ext>
            </a:extLst>
          </p:cNvPr>
          <p:cNvGrpSpPr/>
          <p:nvPr/>
        </p:nvGrpSpPr>
        <p:grpSpPr>
          <a:xfrm>
            <a:off x="814388" y="2584931"/>
            <a:ext cx="3570576" cy="3291840"/>
            <a:chOff x="1450176" y="2512195"/>
            <a:chExt cx="3745424" cy="3291840"/>
          </a:xfrm>
        </p:grpSpPr>
        <p:sp>
          <p:nvSpPr>
            <p:cNvPr id="31" name="Прямокутник 51">
              <a:extLst>
                <a:ext uri="{FF2B5EF4-FFF2-40B4-BE49-F238E27FC236}">
                  <a16:creationId xmlns:a16="http://schemas.microsoft.com/office/drawing/2014/main" id="{288EA9FD-88F6-8EA1-FED2-B66EE890D0A3}"/>
                </a:ext>
              </a:extLst>
            </p:cNvPr>
            <p:cNvSpPr/>
            <p:nvPr/>
          </p:nvSpPr>
          <p:spPr>
            <a:xfrm>
              <a:off x="1450176" y="2512195"/>
              <a:ext cx="3745424" cy="3291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uk-UA" dirty="0">
                  <a:solidFill>
                    <a:schemeClr val="tx1"/>
                  </a:solidFill>
                  <a:latin typeface="+mj-lt"/>
                </a:rPr>
                <a:t>Не </a:t>
              </a:r>
              <a:r>
                <a:rPr lang="uk-UA" dirty="0" err="1">
                  <a:solidFill>
                    <a:schemeClr val="tx1"/>
                  </a:solidFill>
                  <a:latin typeface="+mj-lt"/>
                </a:rPr>
                <a:t>ок</a:t>
              </a:r>
              <a:endParaRPr lang="en-US" dirty="0">
                <a:solidFill>
                  <a:schemeClr val="tx1"/>
                </a:solidFill>
                <a:latin typeface="+mj-lt"/>
              </a:endParaRPr>
            </a:p>
          </p:txBody>
        </p:sp>
        <p:grpSp>
          <p:nvGrpSpPr>
            <p:cNvPr id="32" name="Групувати 25">
              <a:extLst>
                <a:ext uri="{FF2B5EF4-FFF2-40B4-BE49-F238E27FC236}">
                  <a16:creationId xmlns:a16="http://schemas.microsoft.com/office/drawing/2014/main" id="{AF2ABCAC-F46B-8956-6BAE-DB8558FFA330}"/>
                </a:ext>
              </a:extLst>
            </p:cNvPr>
            <p:cNvGrpSpPr/>
            <p:nvPr/>
          </p:nvGrpSpPr>
          <p:grpSpPr>
            <a:xfrm>
              <a:off x="1508576" y="3457143"/>
              <a:ext cx="3417449" cy="540000"/>
              <a:chOff x="1508576" y="4027639"/>
              <a:chExt cx="3417449" cy="540000"/>
            </a:xfrm>
          </p:grpSpPr>
          <p:sp>
            <p:nvSpPr>
              <p:cNvPr id="61" name="Прямокутник: округлені кути 62">
                <a:extLst>
                  <a:ext uri="{FF2B5EF4-FFF2-40B4-BE49-F238E27FC236}">
                    <a16:creationId xmlns:a16="http://schemas.microsoft.com/office/drawing/2014/main" id="{2ED8AA52-1F95-91C6-96E5-356CAEE31BC4}"/>
                  </a:ext>
                </a:extLst>
              </p:cNvPr>
              <p:cNvSpPr/>
              <p:nvPr/>
            </p:nvSpPr>
            <p:spPr>
              <a:xfrm>
                <a:off x="1508576" y="402763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sz="4000" dirty="0">
                    <a:latin typeface="+mj-lt"/>
                  </a:rPr>
                  <a:t>2</a:t>
                </a:r>
              </a:p>
            </p:txBody>
          </p:sp>
          <p:sp>
            <p:nvSpPr>
              <p:cNvPr id="62" name="Прямокутник 64">
                <a:extLst>
                  <a:ext uri="{FF2B5EF4-FFF2-40B4-BE49-F238E27FC236}">
                    <a16:creationId xmlns:a16="http://schemas.microsoft.com/office/drawing/2014/main" id="{6C65CFEA-F271-7E87-26CF-5E6A071292D6}"/>
                  </a:ext>
                </a:extLst>
              </p:cNvPr>
              <p:cNvSpPr/>
              <p:nvPr/>
            </p:nvSpPr>
            <p:spPr>
              <a:xfrm>
                <a:off x="2062520" y="4027639"/>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3200" dirty="0">
                    <a:solidFill>
                      <a:schemeClr val="tx1"/>
                    </a:solidFill>
                    <a:ea typeface="Roboto Black" panose="02000000000000000000" pitchFamily="2" charset="0"/>
                  </a:rPr>
                  <a:t>Залишати  </a:t>
                </a:r>
              </a:p>
            </p:txBody>
          </p:sp>
        </p:grpSp>
        <p:grpSp>
          <p:nvGrpSpPr>
            <p:cNvPr id="33" name="Групувати 73">
              <a:extLst>
                <a:ext uri="{FF2B5EF4-FFF2-40B4-BE49-F238E27FC236}">
                  <a16:creationId xmlns:a16="http://schemas.microsoft.com/office/drawing/2014/main" id="{9DB770FA-588F-9FDE-B728-BA4008E6FC89}"/>
                </a:ext>
              </a:extLst>
            </p:cNvPr>
            <p:cNvGrpSpPr/>
            <p:nvPr/>
          </p:nvGrpSpPr>
          <p:grpSpPr>
            <a:xfrm>
              <a:off x="1508576" y="2886645"/>
              <a:ext cx="3417449" cy="540000"/>
              <a:chOff x="1508576" y="4027639"/>
              <a:chExt cx="3417449" cy="540000"/>
            </a:xfrm>
          </p:grpSpPr>
          <p:sp>
            <p:nvSpPr>
              <p:cNvPr id="59" name="Прямокутник: округлені кути 74">
                <a:extLst>
                  <a:ext uri="{FF2B5EF4-FFF2-40B4-BE49-F238E27FC236}">
                    <a16:creationId xmlns:a16="http://schemas.microsoft.com/office/drawing/2014/main" id="{A1B88A38-7804-149D-8A50-ED7E05069D5B}"/>
                  </a:ext>
                </a:extLst>
              </p:cNvPr>
              <p:cNvSpPr/>
              <p:nvPr/>
            </p:nvSpPr>
            <p:spPr>
              <a:xfrm>
                <a:off x="1508576" y="402763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sz="4000" dirty="0">
                    <a:latin typeface="+mj-lt"/>
                  </a:rPr>
                  <a:t>1</a:t>
                </a:r>
              </a:p>
            </p:txBody>
          </p:sp>
          <p:sp>
            <p:nvSpPr>
              <p:cNvPr id="60" name="Прямокутник 75">
                <a:extLst>
                  <a:ext uri="{FF2B5EF4-FFF2-40B4-BE49-F238E27FC236}">
                    <a16:creationId xmlns:a16="http://schemas.microsoft.com/office/drawing/2014/main" id="{7B475578-360D-F6F4-C616-F81427E211A1}"/>
                  </a:ext>
                </a:extLst>
              </p:cNvPr>
              <p:cNvSpPr/>
              <p:nvPr/>
            </p:nvSpPr>
            <p:spPr>
              <a:xfrm>
                <a:off x="2062520" y="4027639"/>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3200" dirty="0">
                    <a:solidFill>
                      <a:schemeClr val="tx1"/>
                    </a:solidFill>
                    <a:ea typeface="Roboto Black" panose="02000000000000000000" pitchFamily="2" charset="0"/>
                  </a:rPr>
                  <a:t>Потрібно </a:t>
                </a:r>
              </a:p>
            </p:txBody>
          </p:sp>
        </p:grpSp>
        <p:grpSp>
          <p:nvGrpSpPr>
            <p:cNvPr id="34" name="Групувати 76">
              <a:extLst>
                <a:ext uri="{FF2B5EF4-FFF2-40B4-BE49-F238E27FC236}">
                  <a16:creationId xmlns:a16="http://schemas.microsoft.com/office/drawing/2014/main" id="{65E36199-7555-BDA0-F9BE-CEA434FDB330}"/>
                </a:ext>
              </a:extLst>
            </p:cNvPr>
            <p:cNvGrpSpPr/>
            <p:nvPr/>
          </p:nvGrpSpPr>
          <p:grpSpPr>
            <a:xfrm>
              <a:off x="1508576" y="4027641"/>
              <a:ext cx="3417449" cy="540000"/>
              <a:chOff x="1508576" y="4027639"/>
              <a:chExt cx="3417449" cy="540000"/>
            </a:xfrm>
          </p:grpSpPr>
          <p:sp>
            <p:nvSpPr>
              <p:cNvPr id="57" name="Прямокутник: округлені кути 77">
                <a:extLst>
                  <a:ext uri="{FF2B5EF4-FFF2-40B4-BE49-F238E27FC236}">
                    <a16:creationId xmlns:a16="http://schemas.microsoft.com/office/drawing/2014/main" id="{74082066-CBFF-E061-50D3-2174C0F9C69B}"/>
                  </a:ext>
                </a:extLst>
              </p:cNvPr>
              <p:cNvSpPr/>
              <p:nvPr/>
            </p:nvSpPr>
            <p:spPr>
              <a:xfrm>
                <a:off x="1508576" y="402763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sz="4000" dirty="0">
                    <a:latin typeface="+mj-lt"/>
                  </a:rPr>
                  <a:t>3</a:t>
                </a:r>
              </a:p>
            </p:txBody>
          </p:sp>
          <p:sp>
            <p:nvSpPr>
              <p:cNvPr id="58" name="Прямокутник 78">
                <a:extLst>
                  <a:ext uri="{FF2B5EF4-FFF2-40B4-BE49-F238E27FC236}">
                    <a16:creationId xmlns:a16="http://schemas.microsoft.com/office/drawing/2014/main" id="{59BCFA5B-68A8-39B8-8FA5-A55737E51AEE}"/>
                  </a:ext>
                </a:extLst>
              </p:cNvPr>
              <p:cNvSpPr/>
              <p:nvPr/>
            </p:nvSpPr>
            <p:spPr>
              <a:xfrm>
                <a:off x="2062520" y="4027639"/>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3200" dirty="0">
                    <a:solidFill>
                      <a:schemeClr val="tx1"/>
                    </a:solidFill>
                    <a:ea typeface="Roboto Black" panose="02000000000000000000" pitchFamily="2" charset="0"/>
                  </a:rPr>
                  <a:t>Повітря  </a:t>
                </a:r>
              </a:p>
            </p:txBody>
          </p:sp>
        </p:grpSp>
        <p:grpSp>
          <p:nvGrpSpPr>
            <p:cNvPr id="35" name="Групувати 79">
              <a:extLst>
                <a:ext uri="{FF2B5EF4-FFF2-40B4-BE49-F238E27FC236}">
                  <a16:creationId xmlns:a16="http://schemas.microsoft.com/office/drawing/2014/main" id="{C08933A4-4D69-AA60-CA1C-668C80D1FBD9}"/>
                </a:ext>
              </a:extLst>
            </p:cNvPr>
            <p:cNvGrpSpPr/>
            <p:nvPr/>
          </p:nvGrpSpPr>
          <p:grpSpPr>
            <a:xfrm>
              <a:off x="1508576" y="4598138"/>
              <a:ext cx="3417449" cy="540000"/>
              <a:chOff x="1508576" y="4027639"/>
              <a:chExt cx="3417449" cy="540000"/>
            </a:xfrm>
          </p:grpSpPr>
          <p:sp>
            <p:nvSpPr>
              <p:cNvPr id="55" name="Прямокутник: округлені кути 80">
                <a:extLst>
                  <a:ext uri="{FF2B5EF4-FFF2-40B4-BE49-F238E27FC236}">
                    <a16:creationId xmlns:a16="http://schemas.microsoft.com/office/drawing/2014/main" id="{4BFEB4E2-97EE-7009-89B2-9059BA972B56}"/>
                  </a:ext>
                </a:extLst>
              </p:cNvPr>
              <p:cNvSpPr/>
              <p:nvPr/>
            </p:nvSpPr>
            <p:spPr>
              <a:xfrm>
                <a:off x="1508576" y="402763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sz="4000" dirty="0">
                    <a:latin typeface="+mj-lt"/>
                  </a:rPr>
                  <a:t>4</a:t>
                </a:r>
              </a:p>
            </p:txBody>
          </p:sp>
          <p:sp>
            <p:nvSpPr>
              <p:cNvPr id="56" name="Прямокутник 81">
                <a:extLst>
                  <a:ext uri="{FF2B5EF4-FFF2-40B4-BE49-F238E27FC236}">
                    <a16:creationId xmlns:a16="http://schemas.microsoft.com/office/drawing/2014/main" id="{C932D994-926E-08CD-7A11-DF80314FD063}"/>
                  </a:ext>
                </a:extLst>
              </p:cNvPr>
              <p:cNvSpPr/>
              <p:nvPr/>
            </p:nvSpPr>
            <p:spPr>
              <a:xfrm>
                <a:off x="2062520" y="4027639"/>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3200" dirty="0">
                    <a:solidFill>
                      <a:schemeClr val="tx1"/>
                    </a:solidFill>
                    <a:ea typeface="Roboto Black" panose="02000000000000000000" pitchFamily="2" charset="0"/>
                  </a:rPr>
                  <a:t>На </a:t>
                </a:r>
              </a:p>
            </p:txBody>
          </p:sp>
        </p:grpSp>
        <p:grpSp>
          <p:nvGrpSpPr>
            <p:cNvPr id="36" name="Групувати 82">
              <a:extLst>
                <a:ext uri="{FF2B5EF4-FFF2-40B4-BE49-F238E27FC236}">
                  <a16:creationId xmlns:a16="http://schemas.microsoft.com/office/drawing/2014/main" id="{C2ADF4E8-2CBD-13CF-CE28-C9907E6C67F6}"/>
                </a:ext>
              </a:extLst>
            </p:cNvPr>
            <p:cNvGrpSpPr/>
            <p:nvPr/>
          </p:nvGrpSpPr>
          <p:grpSpPr>
            <a:xfrm>
              <a:off x="1508576" y="5168633"/>
              <a:ext cx="3417449" cy="540000"/>
              <a:chOff x="1508576" y="4027639"/>
              <a:chExt cx="3417449" cy="540000"/>
            </a:xfrm>
          </p:grpSpPr>
          <p:sp>
            <p:nvSpPr>
              <p:cNvPr id="53" name="Прямокутник: округлені кути 83">
                <a:extLst>
                  <a:ext uri="{FF2B5EF4-FFF2-40B4-BE49-F238E27FC236}">
                    <a16:creationId xmlns:a16="http://schemas.microsoft.com/office/drawing/2014/main" id="{E2B830E5-11AB-305D-DC0D-AA994216619B}"/>
                  </a:ext>
                </a:extLst>
              </p:cNvPr>
              <p:cNvSpPr/>
              <p:nvPr/>
            </p:nvSpPr>
            <p:spPr>
              <a:xfrm>
                <a:off x="1508576" y="4027639"/>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sz="4000" dirty="0">
                    <a:latin typeface="+mj-lt"/>
                  </a:rPr>
                  <a:t>5</a:t>
                </a:r>
              </a:p>
            </p:txBody>
          </p:sp>
          <p:sp>
            <p:nvSpPr>
              <p:cNvPr id="54" name="Прямокутник 84">
                <a:extLst>
                  <a:ext uri="{FF2B5EF4-FFF2-40B4-BE49-F238E27FC236}">
                    <a16:creationId xmlns:a16="http://schemas.microsoft.com/office/drawing/2014/main" id="{73035419-F322-C1DA-A720-D9DF9C62ADF2}"/>
                  </a:ext>
                </a:extLst>
              </p:cNvPr>
              <p:cNvSpPr/>
              <p:nvPr/>
            </p:nvSpPr>
            <p:spPr>
              <a:xfrm>
                <a:off x="2062520" y="4027639"/>
                <a:ext cx="2863505"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3200" dirty="0">
                    <a:solidFill>
                      <a:schemeClr val="tx1"/>
                    </a:solidFill>
                    <a:ea typeface="Roboto Black" panose="02000000000000000000" pitchFamily="2" charset="0"/>
                  </a:rPr>
                  <a:t>Слайді </a:t>
                </a:r>
              </a:p>
            </p:txBody>
          </p:sp>
        </p:grpSp>
        <p:cxnSp>
          <p:nvCxnSpPr>
            <p:cNvPr id="37" name="Пряма сполучна лінія 29">
              <a:extLst>
                <a:ext uri="{FF2B5EF4-FFF2-40B4-BE49-F238E27FC236}">
                  <a16:creationId xmlns:a16="http://schemas.microsoft.com/office/drawing/2014/main" id="{198BD586-FD5E-DB02-B8B6-6EB4B4BF8860}"/>
                </a:ext>
              </a:extLst>
            </p:cNvPr>
            <p:cNvCxnSpPr>
              <a:cxnSpLocks/>
            </p:cNvCxnSpPr>
            <p:nvPr/>
          </p:nvCxnSpPr>
          <p:spPr>
            <a:xfrm>
              <a:off x="1508576" y="3441894"/>
              <a:ext cx="341744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Пряма сполучна лінія 86">
              <a:extLst>
                <a:ext uri="{FF2B5EF4-FFF2-40B4-BE49-F238E27FC236}">
                  <a16:creationId xmlns:a16="http://schemas.microsoft.com/office/drawing/2014/main" id="{B778ED49-176A-C1E9-38E0-17B3B59CD719}"/>
                </a:ext>
              </a:extLst>
            </p:cNvPr>
            <p:cNvCxnSpPr>
              <a:cxnSpLocks/>
            </p:cNvCxnSpPr>
            <p:nvPr/>
          </p:nvCxnSpPr>
          <p:spPr>
            <a:xfrm>
              <a:off x="1508576" y="4012392"/>
              <a:ext cx="341744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6" name="Пряма сполучна лінія 87">
              <a:extLst>
                <a:ext uri="{FF2B5EF4-FFF2-40B4-BE49-F238E27FC236}">
                  <a16:creationId xmlns:a16="http://schemas.microsoft.com/office/drawing/2014/main" id="{41FA7817-E4AB-73B6-A920-E44B43FADC9D}"/>
                </a:ext>
              </a:extLst>
            </p:cNvPr>
            <p:cNvCxnSpPr>
              <a:cxnSpLocks/>
            </p:cNvCxnSpPr>
            <p:nvPr/>
          </p:nvCxnSpPr>
          <p:spPr>
            <a:xfrm>
              <a:off x="1508576" y="4582890"/>
              <a:ext cx="341744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7" name="Пряма сполучна лінія 88">
              <a:extLst>
                <a:ext uri="{FF2B5EF4-FFF2-40B4-BE49-F238E27FC236}">
                  <a16:creationId xmlns:a16="http://schemas.microsoft.com/office/drawing/2014/main" id="{727A6216-CDBB-26EC-2C66-46293608066B}"/>
                </a:ext>
              </a:extLst>
            </p:cNvPr>
            <p:cNvCxnSpPr>
              <a:cxnSpLocks/>
            </p:cNvCxnSpPr>
            <p:nvPr/>
          </p:nvCxnSpPr>
          <p:spPr>
            <a:xfrm>
              <a:off x="1508576" y="5153387"/>
              <a:ext cx="3417449"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48" name="Графіка 31" descr="Warning with solid fill">
              <a:extLst>
                <a:ext uri="{FF2B5EF4-FFF2-40B4-BE49-F238E27FC236}">
                  <a16:creationId xmlns:a16="http://schemas.microsoft.com/office/drawing/2014/main" id="{7B33D255-0697-0F29-0C26-7E5C553C61E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37696" y="2901895"/>
              <a:ext cx="540000" cy="540000"/>
            </a:xfrm>
            <a:prstGeom prst="rect">
              <a:avLst/>
            </a:prstGeom>
          </p:spPr>
        </p:pic>
        <p:pic>
          <p:nvPicPr>
            <p:cNvPr id="49" name="Графіка 89" descr="Warning with solid fill">
              <a:extLst>
                <a:ext uri="{FF2B5EF4-FFF2-40B4-BE49-F238E27FC236}">
                  <a16:creationId xmlns:a16="http://schemas.microsoft.com/office/drawing/2014/main" id="{C1B80912-A310-680E-9C15-5B066F44F48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07696" y="3461944"/>
              <a:ext cx="540000" cy="540000"/>
            </a:xfrm>
            <a:prstGeom prst="rect">
              <a:avLst/>
            </a:prstGeom>
          </p:spPr>
        </p:pic>
        <p:pic>
          <p:nvPicPr>
            <p:cNvPr id="50" name="Графіка 90" descr="Warning with solid fill">
              <a:extLst>
                <a:ext uri="{FF2B5EF4-FFF2-40B4-BE49-F238E27FC236}">
                  <a16:creationId xmlns:a16="http://schemas.microsoft.com/office/drawing/2014/main" id="{28F80677-C460-B7A6-03E2-EAD5E478F7C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93809" y="4021531"/>
              <a:ext cx="540000" cy="540000"/>
            </a:xfrm>
            <a:prstGeom prst="rect">
              <a:avLst/>
            </a:prstGeom>
          </p:spPr>
        </p:pic>
        <p:pic>
          <p:nvPicPr>
            <p:cNvPr id="51" name="Графіка 91" descr="Warning with solid fill">
              <a:extLst>
                <a:ext uri="{FF2B5EF4-FFF2-40B4-BE49-F238E27FC236}">
                  <a16:creationId xmlns:a16="http://schemas.microsoft.com/office/drawing/2014/main" id="{27313D0C-8BAF-421C-B3EF-3EDC40A6BA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33252" y="4598696"/>
              <a:ext cx="540000" cy="540000"/>
            </a:xfrm>
            <a:prstGeom prst="rect">
              <a:avLst/>
            </a:prstGeom>
          </p:spPr>
        </p:pic>
        <p:pic>
          <p:nvPicPr>
            <p:cNvPr id="52" name="Графіка 92" descr="Warning with solid fill">
              <a:extLst>
                <a:ext uri="{FF2B5EF4-FFF2-40B4-BE49-F238E27FC236}">
                  <a16:creationId xmlns:a16="http://schemas.microsoft.com/office/drawing/2014/main" id="{C3119A1D-E562-A21C-3D57-D7CD3E194D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56416" y="5174952"/>
              <a:ext cx="540000" cy="540000"/>
            </a:xfrm>
            <a:prstGeom prst="rect">
              <a:avLst/>
            </a:prstGeom>
          </p:spPr>
        </p:pic>
      </p:grpSp>
    </p:spTree>
    <p:extLst>
      <p:ext uri="{BB962C8B-B14F-4D97-AF65-F5344CB8AC3E}">
        <p14:creationId xmlns:p14="http://schemas.microsoft.com/office/powerpoint/2010/main" val="355824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FDB2F87C-0AF8-46B0-954A-E10B214D2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FDB2F87C-0AF8-46B0-954A-E10B214D2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Прямокутник 2">
            <a:extLst>
              <a:ext uri="{FF2B5EF4-FFF2-40B4-BE49-F238E27FC236}">
                <a16:creationId xmlns:a16="http://schemas.microsoft.com/office/drawing/2014/main" id="{00E16728-6759-4258-90FD-EB7025E408F5}"/>
              </a:ext>
            </a:extLst>
          </p:cNvPr>
          <p:cNvSpPr/>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pic>
        <p:nvPicPr>
          <p:cNvPr id="1026" name="Picture 2" descr="Смотреть «Погребенный заживо» в хорошем качестве онлайн на сайте PREMIER.ONE">
            <a:extLst>
              <a:ext uri="{FF2B5EF4-FFF2-40B4-BE49-F238E27FC236}">
                <a16:creationId xmlns:a16="http://schemas.microsoft.com/office/drawing/2014/main" id="{42BC8ED3-3E27-4FFE-B838-F07C080E0C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8533"/>
          <a:stretch/>
        </p:blipFill>
        <p:spPr bwMode="auto">
          <a:xfrm>
            <a:off x="2451100" y="4749800"/>
            <a:ext cx="7289800" cy="210820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Групувати 10">
            <a:extLst>
              <a:ext uri="{FF2B5EF4-FFF2-40B4-BE49-F238E27FC236}">
                <a16:creationId xmlns:a16="http://schemas.microsoft.com/office/drawing/2014/main" id="{CD6321EE-7303-44B7-910A-3B85E76C8EDE}"/>
              </a:ext>
            </a:extLst>
          </p:cNvPr>
          <p:cNvGrpSpPr/>
          <p:nvPr/>
        </p:nvGrpSpPr>
        <p:grpSpPr>
          <a:xfrm>
            <a:off x="0" y="0"/>
            <a:ext cx="12192002" cy="5344747"/>
            <a:chOff x="0" y="0"/>
            <a:chExt cx="12192002" cy="5344747"/>
          </a:xfrm>
        </p:grpSpPr>
        <p:sp>
          <p:nvSpPr>
            <p:cNvPr id="5" name="Заголовок 1">
              <a:extLst>
                <a:ext uri="{FF2B5EF4-FFF2-40B4-BE49-F238E27FC236}">
                  <a16:creationId xmlns:a16="http://schemas.microsoft.com/office/drawing/2014/main" id="{59F1AC2A-F04E-4541-A328-57B46F8BFE40}"/>
                </a:ext>
              </a:extLst>
            </p:cNvPr>
            <p:cNvSpPr txBox="1">
              <a:spLocks/>
            </p:cNvSpPr>
            <p:nvPr/>
          </p:nvSpPr>
          <p:spPr>
            <a:xfrm>
              <a:off x="0" y="0"/>
              <a:ext cx="12192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a:t>
              </a:r>
            </a:p>
            <a:p>
              <a:pPr algn="just"/>
              <a:r>
                <a:rPr lang="uk-UA" sz="2000" dirty="0">
                  <a:solidFill>
                    <a:schemeClr val="bg1"/>
                  </a:solidFill>
                </a:rPr>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a:t>
              </a:r>
            </a:p>
            <a:p>
              <a:pPr algn="just"/>
              <a:endParaRPr lang="uk-UA" sz="2000" dirty="0">
                <a:solidFill>
                  <a:schemeClr val="bg1"/>
                </a:solidFill>
              </a:endParaRPr>
            </a:p>
            <a:p>
              <a:pPr algn="just"/>
              <a:endParaRPr lang="uk-UA" sz="2000" dirty="0">
                <a:solidFill>
                  <a:schemeClr val="bg1"/>
                </a:solidFill>
              </a:endParaRPr>
            </a:p>
          </p:txBody>
        </p:sp>
        <p:sp>
          <p:nvSpPr>
            <p:cNvPr id="6" name="Заголовок 1">
              <a:extLst>
                <a:ext uri="{FF2B5EF4-FFF2-40B4-BE49-F238E27FC236}">
                  <a16:creationId xmlns:a16="http://schemas.microsoft.com/office/drawing/2014/main" id="{040A9618-1F99-420D-AED5-9CF469FC7A49}"/>
                </a:ext>
              </a:extLst>
            </p:cNvPr>
            <p:cNvSpPr txBox="1">
              <a:spLocks/>
            </p:cNvSpPr>
            <p:nvPr/>
          </p:nvSpPr>
          <p:spPr>
            <a:xfrm>
              <a:off x="0" y="467995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Ще тут трохи тексту, бо ми забули згадати про дуже важливі факти. Сюди давайте ще дату презентації, щоб було точно все зрозуміло</a:t>
              </a:r>
            </a:p>
            <a:p>
              <a:pPr algn="just"/>
              <a:endParaRPr lang="uk-UA" sz="2000" dirty="0">
                <a:solidFill>
                  <a:schemeClr val="bg1"/>
                </a:solidFill>
              </a:endParaRPr>
            </a:p>
          </p:txBody>
        </p:sp>
        <p:sp>
          <p:nvSpPr>
            <p:cNvPr id="7" name="Заголовок 1">
              <a:extLst>
                <a:ext uri="{FF2B5EF4-FFF2-40B4-BE49-F238E27FC236}">
                  <a16:creationId xmlns:a16="http://schemas.microsoft.com/office/drawing/2014/main" id="{4D17CF8B-CF92-49B2-A2A1-CB24DF4E2963}"/>
                </a:ext>
              </a:extLst>
            </p:cNvPr>
            <p:cNvSpPr txBox="1">
              <a:spLocks/>
            </p:cNvSpPr>
            <p:nvPr/>
          </p:nvSpPr>
          <p:spPr>
            <a:xfrm>
              <a:off x="8813802" y="467995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Тут джерело і примітки на слайді, бо без них нікуди. І чуть нижче </a:t>
              </a:r>
              <a:r>
                <a:rPr lang="uk-UA" sz="2000" dirty="0">
                  <a:solidFill>
                    <a:schemeClr val="bg1"/>
                  </a:solidFill>
                  <a:sym typeface="Wingdings" panose="05000000000000000000" pitchFamily="2" charset="2"/>
                </a:rPr>
                <a:t></a:t>
              </a:r>
              <a:endParaRPr lang="uk-UA" sz="2000" dirty="0">
                <a:solidFill>
                  <a:schemeClr val="bg1"/>
                </a:solidFill>
              </a:endParaRPr>
            </a:p>
          </p:txBody>
        </p:sp>
      </p:grpSp>
      <p:sp>
        <p:nvSpPr>
          <p:cNvPr id="10" name="Заголовок 1">
            <a:extLst>
              <a:ext uri="{FF2B5EF4-FFF2-40B4-BE49-F238E27FC236}">
                <a16:creationId xmlns:a16="http://schemas.microsoft.com/office/drawing/2014/main" id="{7170DE76-A944-4BE8-A44C-40A1BD1EB580}"/>
              </a:ext>
            </a:extLst>
          </p:cNvPr>
          <p:cNvSpPr txBox="1">
            <a:spLocks/>
          </p:cNvSpPr>
          <p:nvPr/>
        </p:nvSpPr>
        <p:spPr>
          <a:xfrm>
            <a:off x="8750300" y="570230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uk-UA" sz="5600" dirty="0">
                <a:solidFill>
                  <a:schemeClr val="bg1"/>
                </a:solidFill>
              </a:rPr>
              <a:t>логотип</a:t>
            </a:r>
          </a:p>
        </p:txBody>
      </p:sp>
      <p:sp>
        <p:nvSpPr>
          <p:cNvPr id="4" name="Овал 3">
            <a:extLst>
              <a:ext uri="{FF2B5EF4-FFF2-40B4-BE49-F238E27FC236}">
                <a16:creationId xmlns:a16="http://schemas.microsoft.com/office/drawing/2014/main" id="{7EF61C57-A0AA-A4B7-BF13-218AB85115B1}"/>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388246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ppt_x"/>
                                          </p:val>
                                        </p:tav>
                                        <p:tav tm="100000">
                                          <p:val>
                                            <p:strVal val="#ppt_x"/>
                                          </p:val>
                                        </p:tav>
                                      </p:tavLst>
                                    </p:anim>
                                    <p:anim calcmode="lin" valueType="num">
                                      <p:cBhvr additive="base">
                                        <p:cTn id="8" dur="1000" fill="hold"/>
                                        <p:tgtEl>
                                          <p:spTgt spid="11"/>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FDB2F87C-0AF8-46B0-954A-E10B214D2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FDB2F87C-0AF8-46B0-954A-E10B214D2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Прямокутник 2">
            <a:extLst>
              <a:ext uri="{FF2B5EF4-FFF2-40B4-BE49-F238E27FC236}">
                <a16:creationId xmlns:a16="http://schemas.microsoft.com/office/drawing/2014/main" id="{00E16728-6759-4258-90FD-EB7025E408F5}"/>
              </a:ext>
            </a:extLst>
          </p:cNvPr>
          <p:cNvSpPr/>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pic>
        <p:nvPicPr>
          <p:cNvPr id="1026" name="Picture 2" descr="Смотреть «Погребенный заживо» в хорошем качестве онлайн на сайте PREMIER.ONE">
            <a:extLst>
              <a:ext uri="{FF2B5EF4-FFF2-40B4-BE49-F238E27FC236}">
                <a16:creationId xmlns:a16="http://schemas.microsoft.com/office/drawing/2014/main" id="{42BC8ED3-3E27-4FFE-B838-F07C080E0C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8533"/>
          <a:stretch/>
        </p:blipFill>
        <p:spPr bwMode="auto">
          <a:xfrm>
            <a:off x="2451100" y="4749800"/>
            <a:ext cx="7289800" cy="2108200"/>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1">
            <a:extLst>
              <a:ext uri="{FF2B5EF4-FFF2-40B4-BE49-F238E27FC236}">
                <a16:creationId xmlns:a16="http://schemas.microsoft.com/office/drawing/2014/main" id="{59F1AC2A-F04E-4541-A328-57B46F8BFE40}"/>
              </a:ext>
            </a:extLst>
          </p:cNvPr>
          <p:cNvSpPr txBox="1">
            <a:spLocks/>
          </p:cNvSpPr>
          <p:nvPr/>
        </p:nvSpPr>
        <p:spPr>
          <a:xfrm>
            <a:off x="0" y="0"/>
            <a:ext cx="12192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a:t>
            </a:r>
            <a:r>
              <a:rPr lang="uk-UA" sz="2000" dirty="0">
                <a:solidFill>
                  <a:schemeClr val="bg1"/>
                </a:solidFill>
              </a:rPr>
              <a:t>//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a:t>
            </a:r>
          </a:p>
          <a:p>
            <a:pPr algn="just"/>
            <a:r>
              <a:rPr lang="uk-UA" sz="2000" dirty="0">
                <a:solidFill>
                  <a:schemeClr val="bg1"/>
                </a:solidFill>
              </a:rPr>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a:t>
            </a:r>
          </a:p>
          <a:p>
            <a:pPr algn="just"/>
            <a:endParaRPr lang="uk-UA" sz="2000" dirty="0">
              <a:solidFill>
                <a:schemeClr val="bg1"/>
              </a:solidFill>
            </a:endParaRPr>
          </a:p>
          <a:p>
            <a:pPr algn="just"/>
            <a:endParaRPr lang="uk-UA" sz="2000" dirty="0">
              <a:solidFill>
                <a:schemeClr val="bg1"/>
              </a:solidFill>
            </a:endParaRPr>
          </a:p>
        </p:txBody>
      </p:sp>
      <p:sp>
        <p:nvSpPr>
          <p:cNvPr id="6" name="Заголовок 1">
            <a:extLst>
              <a:ext uri="{FF2B5EF4-FFF2-40B4-BE49-F238E27FC236}">
                <a16:creationId xmlns:a16="http://schemas.microsoft.com/office/drawing/2014/main" id="{93CED2DD-BB92-469F-8272-E22F13854298}"/>
              </a:ext>
            </a:extLst>
          </p:cNvPr>
          <p:cNvSpPr txBox="1">
            <a:spLocks/>
          </p:cNvSpPr>
          <p:nvPr/>
        </p:nvSpPr>
        <p:spPr>
          <a:xfrm>
            <a:off x="571500" y="332398"/>
            <a:ext cx="11049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8000" dirty="0">
                <a:solidFill>
                  <a:schemeClr val="bg1"/>
                </a:solidFill>
              </a:rPr>
              <a:t>Давайте </a:t>
            </a:r>
          </a:p>
        </p:txBody>
      </p:sp>
      <p:sp>
        <p:nvSpPr>
          <p:cNvPr id="10" name="Заголовок 1">
            <a:extLst>
              <a:ext uri="{FF2B5EF4-FFF2-40B4-BE49-F238E27FC236}">
                <a16:creationId xmlns:a16="http://schemas.microsoft.com/office/drawing/2014/main" id="{452C9520-36F2-4F4A-8281-6E92BF09D439}"/>
              </a:ext>
            </a:extLst>
          </p:cNvPr>
          <p:cNvSpPr txBox="1">
            <a:spLocks/>
          </p:cNvSpPr>
          <p:nvPr/>
        </p:nvSpPr>
        <p:spPr>
          <a:xfrm>
            <a:off x="8750300" y="570230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uk-UA" sz="5600" dirty="0">
                <a:solidFill>
                  <a:schemeClr val="bg1"/>
                </a:solidFill>
              </a:rPr>
              <a:t>логотип</a:t>
            </a:r>
          </a:p>
        </p:txBody>
      </p:sp>
      <p:sp>
        <p:nvSpPr>
          <p:cNvPr id="11" name="Заголовок 1">
            <a:extLst>
              <a:ext uri="{FF2B5EF4-FFF2-40B4-BE49-F238E27FC236}">
                <a16:creationId xmlns:a16="http://schemas.microsoft.com/office/drawing/2014/main" id="{7E9A9B8F-DC9D-4AEB-B989-4778B3C26E4A}"/>
              </a:ext>
            </a:extLst>
          </p:cNvPr>
          <p:cNvSpPr txBox="1">
            <a:spLocks/>
          </p:cNvSpPr>
          <p:nvPr/>
        </p:nvSpPr>
        <p:spPr>
          <a:xfrm>
            <a:off x="0" y="467995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Ще тут трохи тексту, бо ми забули згадати про дуже важливі факти. Сюди давайте ще дату презентації, щоб було точно все зрозуміло</a:t>
            </a:r>
          </a:p>
          <a:p>
            <a:pPr algn="just"/>
            <a:endParaRPr lang="uk-UA" sz="2000" dirty="0">
              <a:solidFill>
                <a:schemeClr val="bg1"/>
              </a:solidFill>
            </a:endParaRPr>
          </a:p>
        </p:txBody>
      </p:sp>
      <p:sp>
        <p:nvSpPr>
          <p:cNvPr id="12" name="Заголовок 1">
            <a:extLst>
              <a:ext uri="{FF2B5EF4-FFF2-40B4-BE49-F238E27FC236}">
                <a16:creationId xmlns:a16="http://schemas.microsoft.com/office/drawing/2014/main" id="{0B75F31B-892F-49D8-9B7F-03A9759488B5}"/>
              </a:ext>
            </a:extLst>
          </p:cNvPr>
          <p:cNvSpPr txBox="1">
            <a:spLocks/>
          </p:cNvSpPr>
          <p:nvPr/>
        </p:nvSpPr>
        <p:spPr>
          <a:xfrm>
            <a:off x="8813802" y="467995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Тут джерело і примітки на слайді, бо без них нікуди. І чуть нижче </a:t>
            </a:r>
            <a:r>
              <a:rPr lang="uk-UA" sz="2000" dirty="0">
                <a:solidFill>
                  <a:schemeClr val="bg1"/>
                </a:solidFill>
                <a:sym typeface="Wingdings" panose="05000000000000000000" pitchFamily="2" charset="2"/>
              </a:rPr>
              <a:t></a:t>
            </a:r>
            <a:endParaRPr lang="uk-UA" sz="2000" dirty="0">
              <a:solidFill>
                <a:schemeClr val="bg1"/>
              </a:solidFill>
            </a:endParaRPr>
          </a:p>
        </p:txBody>
      </p:sp>
      <p:sp>
        <p:nvSpPr>
          <p:cNvPr id="4" name="Овал 3">
            <a:extLst>
              <a:ext uri="{FF2B5EF4-FFF2-40B4-BE49-F238E27FC236}">
                <a16:creationId xmlns:a16="http://schemas.microsoft.com/office/drawing/2014/main" id="{81F97608-727D-0728-CD3D-67D27A1871D1}"/>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01252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FDB2F87C-0AF8-46B0-954A-E10B214D2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FDB2F87C-0AF8-46B0-954A-E10B214D2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Прямокутник 2">
            <a:extLst>
              <a:ext uri="{FF2B5EF4-FFF2-40B4-BE49-F238E27FC236}">
                <a16:creationId xmlns:a16="http://schemas.microsoft.com/office/drawing/2014/main" id="{00E16728-6759-4258-90FD-EB7025E408F5}"/>
              </a:ext>
            </a:extLst>
          </p:cNvPr>
          <p:cNvSpPr/>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pic>
        <p:nvPicPr>
          <p:cNvPr id="1026" name="Picture 2" descr="Смотреть «Погребенный заживо» в хорошем качестве онлайн на сайте PREMIER.ONE">
            <a:extLst>
              <a:ext uri="{FF2B5EF4-FFF2-40B4-BE49-F238E27FC236}">
                <a16:creationId xmlns:a16="http://schemas.microsoft.com/office/drawing/2014/main" id="{42BC8ED3-3E27-4FFE-B838-F07C080E0C2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8533"/>
          <a:stretch/>
        </p:blipFill>
        <p:spPr bwMode="auto">
          <a:xfrm>
            <a:off x="2451100" y="4749800"/>
            <a:ext cx="7289800" cy="2108200"/>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1">
            <a:extLst>
              <a:ext uri="{FF2B5EF4-FFF2-40B4-BE49-F238E27FC236}">
                <a16:creationId xmlns:a16="http://schemas.microsoft.com/office/drawing/2014/main" id="{59F1AC2A-F04E-4541-A328-57B46F8BFE40}"/>
              </a:ext>
            </a:extLst>
          </p:cNvPr>
          <p:cNvSpPr txBox="1">
            <a:spLocks/>
          </p:cNvSpPr>
          <p:nvPr/>
        </p:nvSpPr>
        <p:spPr>
          <a:xfrm>
            <a:off x="0" y="0"/>
            <a:ext cx="12192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a:t>
            </a:r>
            <a:r>
              <a:rPr lang="uk-UA" sz="2000" dirty="0">
                <a:solidFill>
                  <a:schemeClr val="bg1"/>
                </a:solidFill>
              </a:rPr>
              <a:t> </a:t>
            </a:r>
            <a:r>
              <a:rPr lang="uk-UA" sz="2000" dirty="0"/>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a:t>
            </a:r>
          </a:p>
          <a:p>
            <a:pPr algn="just"/>
            <a:r>
              <a:rPr lang="uk-UA" sz="2000" dirty="0">
                <a:solidFill>
                  <a:schemeClr val="bg1"/>
                </a:solidFill>
              </a:rPr>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a:t>
            </a:r>
          </a:p>
          <a:p>
            <a:pPr algn="just"/>
            <a:endParaRPr lang="uk-UA" sz="2000" dirty="0">
              <a:solidFill>
                <a:schemeClr val="bg1"/>
              </a:solidFill>
            </a:endParaRPr>
          </a:p>
          <a:p>
            <a:pPr algn="just"/>
            <a:endParaRPr lang="uk-UA" sz="2000" dirty="0">
              <a:solidFill>
                <a:schemeClr val="bg1"/>
              </a:solidFill>
            </a:endParaRPr>
          </a:p>
        </p:txBody>
      </p:sp>
      <p:sp>
        <p:nvSpPr>
          <p:cNvPr id="7" name="Заголовок 1">
            <a:extLst>
              <a:ext uri="{FF2B5EF4-FFF2-40B4-BE49-F238E27FC236}">
                <a16:creationId xmlns:a16="http://schemas.microsoft.com/office/drawing/2014/main" id="{0932FF74-654B-4A76-95C5-96E153E4D480}"/>
              </a:ext>
            </a:extLst>
          </p:cNvPr>
          <p:cNvSpPr txBox="1">
            <a:spLocks/>
          </p:cNvSpPr>
          <p:nvPr/>
        </p:nvSpPr>
        <p:spPr>
          <a:xfrm>
            <a:off x="571500" y="332398"/>
            <a:ext cx="11049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uk-UA" sz="8000" dirty="0">
                <a:solidFill>
                  <a:schemeClr val="bg1"/>
                </a:solidFill>
              </a:rPr>
              <a:t>Давайте</a:t>
            </a:r>
            <a:br>
              <a:rPr lang="en-US" sz="8000" dirty="0">
                <a:solidFill>
                  <a:schemeClr val="bg1"/>
                </a:solidFill>
              </a:rPr>
            </a:br>
            <a:r>
              <a:rPr lang="uk-UA" sz="8000" dirty="0">
                <a:solidFill>
                  <a:schemeClr val="bg1"/>
                </a:solidFill>
              </a:rPr>
              <a:t>слайдам </a:t>
            </a:r>
          </a:p>
        </p:txBody>
      </p:sp>
      <p:sp>
        <p:nvSpPr>
          <p:cNvPr id="11" name="Заголовок 1">
            <a:extLst>
              <a:ext uri="{FF2B5EF4-FFF2-40B4-BE49-F238E27FC236}">
                <a16:creationId xmlns:a16="http://schemas.microsoft.com/office/drawing/2014/main" id="{9655302E-C34D-437E-8807-3A6557CCA8FC}"/>
              </a:ext>
            </a:extLst>
          </p:cNvPr>
          <p:cNvSpPr txBox="1">
            <a:spLocks/>
          </p:cNvSpPr>
          <p:nvPr/>
        </p:nvSpPr>
        <p:spPr>
          <a:xfrm>
            <a:off x="8750300" y="570230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uk-UA" sz="5600" dirty="0">
                <a:solidFill>
                  <a:schemeClr val="bg1"/>
                </a:solidFill>
              </a:rPr>
              <a:t>логотип</a:t>
            </a:r>
          </a:p>
        </p:txBody>
      </p:sp>
      <p:sp>
        <p:nvSpPr>
          <p:cNvPr id="12" name="Заголовок 1">
            <a:extLst>
              <a:ext uri="{FF2B5EF4-FFF2-40B4-BE49-F238E27FC236}">
                <a16:creationId xmlns:a16="http://schemas.microsoft.com/office/drawing/2014/main" id="{77912B8B-5716-4D9D-BFDB-8E3089B63E07}"/>
              </a:ext>
            </a:extLst>
          </p:cNvPr>
          <p:cNvSpPr txBox="1">
            <a:spLocks/>
          </p:cNvSpPr>
          <p:nvPr/>
        </p:nvSpPr>
        <p:spPr>
          <a:xfrm>
            <a:off x="0" y="467995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Ще тут трохи тексту, бо ми забули згадати про дуже важливі факти. Сюди давайте ще дату презентації, щоб було точно все зрозуміло</a:t>
            </a:r>
          </a:p>
          <a:p>
            <a:pPr algn="just"/>
            <a:endParaRPr lang="uk-UA" sz="2000" dirty="0">
              <a:solidFill>
                <a:schemeClr val="bg1"/>
              </a:solidFill>
            </a:endParaRPr>
          </a:p>
        </p:txBody>
      </p:sp>
      <p:sp>
        <p:nvSpPr>
          <p:cNvPr id="13" name="Заголовок 1">
            <a:extLst>
              <a:ext uri="{FF2B5EF4-FFF2-40B4-BE49-F238E27FC236}">
                <a16:creationId xmlns:a16="http://schemas.microsoft.com/office/drawing/2014/main" id="{A81E3E9A-68D4-45DB-9C02-74A12DA02B3A}"/>
              </a:ext>
            </a:extLst>
          </p:cNvPr>
          <p:cNvSpPr txBox="1">
            <a:spLocks/>
          </p:cNvSpPr>
          <p:nvPr/>
        </p:nvSpPr>
        <p:spPr>
          <a:xfrm>
            <a:off x="8813802" y="4679950"/>
            <a:ext cx="33782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solidFill>
                  <a:schemeClr val="bg1"/>
                </a:solidFill>
              </a:rPr>
              <a:t>Тут джерело і примітки на слайді, бо без них нікуди. І чуть нижче </a:t>
            </a:r>
            <a:r>
              <a:rPr lang="uk-UA" sz="2000" dirty="0">
                <a:solidFill>
                  <a:schemeClr val="bg1"/>
                </a:solidFill>
                <a:sym typeface="Wingdings" panose="05000000000000000000" pitchFamily="2" charset="2"/>
              </a:rPr>
              <a:t></a:t>
            </a:r>
            <a:endParaRPr lang="uk-UA" sz="2000" dirty="0">
              <a:solidFill>
                <a:schemeClr val="bg1"/>
              </a:solidFill>
            </a:endParaRPr>
          </a:p>
        </p:txBody>
      </p:sp>
      <p:sp>
        <p:nvSpPr>
          <p:cNvPr id="4" name="Овал 3">
            <a:extLst>
              <a:ext uri="{FF2B5EF4-FFF2-40B4-BE49-F238E27FC236}">
                <a16:creationId xmlns:a16="http://schemas.microsoft.com/office/drawing/2014/main" id="{F5C71348-97A5-D682-8659-F81509E44E5F}"/>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0331809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FDB2F87C-0AF8-46B0-954A-E10B214D2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FDB2F87C-0AF8-46B0-954A-E10B214D2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4" descr="Ryan Reynolds (Beard) Celebrity Mask - Celebrity Cutouts">
            <a:extLst>
              <a:ext uri="{FF2B5EF4-FFF2-40B4-BE49-F238E27FC236}">
                <a16:creationId xmlns:a16="http://schemas.microsoft.com/office/drawing/2014/main" id="{69C8CEB9-B12D-419D-B1AF-379524437143}"/>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28111" r="28111"/>
          <a:stretch/>
        </p:blipFill>
        <p:spPr bwMode="auto">
          <a:xfrm rot="2781507">
            <a:off x="7574814" y="5322770"/>
            <a:ext cx="430503" cy="491691"/>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кутник 2">
            <a:extLst>
              <a:ext uri="{FF2B5EF4-FFF2-40B4-BE49-F238E27FC236}">
                <a16:creationId xmlns:a16="http://schemas.microsoft.com/office/drawing/2014/main" id="{00E16728-6759-4258-90FD-EB7025E408F5}"/>
              </a:ext>
            </a:extLst>
          </p:cNvPr>
          <p:cNvSpPr/>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pic>
        <p:nvPicPr>
          <p:cNvPr id="1026" name="Picture 2" descr="Смотреть «Погребенный заживо» в хорошем качестве онлайн на сайте PREMIER.ONE">
            <a:extLst>
              <a:ext uri="{FF2B5EF4-FFF2-40B4-BE49-F238E27FC236}">
                <a16:creationId xmlns:a16="http://schemas.microsoft.com/office/drawing/2014/main" id="{42BC8ED3-3E27-4FFE-B838-F07C080E0C2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8533"/>
          <a:stretch/>
        </p:blipFill>
        <p:spPr bwMode="auto">
          <a:xfrm>
            <a:off x="2451100" y="4749800"/>
            <a:ext cx="7289800" cy="2108200"/>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1">
            <a:extLst>
              <a:ext uri="{FF2B5EF4-FFF2-40B4-BE49-F238E27FC236}">
                <a16:creationId xmlns:a16="http://schemas.microsoft.com/office/drawing/2014/main" id="{59F1AC2A-F04E-4541-A328-57B46F8BFE40}"/>
              </a:ext>
            </a:extLst>
          </p:cNvPr>
          <p:cNvSpPr txBox="1">
            <a:spLocks/>
          </p:cNvSpPr>
          <p:nvPr/>
        </p:nvSpPr>
        <p:spPr>
          <a:xfrm>
            <a:off x="0" y="0"/>
            <a:ext cx="12192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r>
              <a:rPr lang="uk-UA" sz="2000" dirty="0"/>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a:t>
            </a:r>
          </a:p>
          <a:p>
            <a:pPr algn="just"/>
            <a:r>
              <a:rPr lang="uk-UA" sz="2000" dirty="0"/>
              <a:t>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 // Якщо на слайді надто багато елементів, то дуже важко сприймати інформацію, важко виділити щось важливе. Такі слайди дуже складно сприймаються і часто просто ніхто не захоче в них розбиратися</a:t>
            </a:r>
          </a:p>
          <a:p>
            <a:pPr algn="just"/>
            <a:endParaRPr lang="uk-UA" sz="2000" dirty="0"/>
          </a:p>
          <a:p>
            <a:pPr algn="just"/>
            <a:endParaRPr lang="uk-UA" sz="2000" dirty="0"/>
          </a:p>
        </p:txBody>
      </p:sp>
      <p:sp>
        <p:nvSpPr>
          <p:cNvPr id="7" name="Заголовок 1">
            <a:extLst>
              <a:ext uri="{FF2B5EF4-FFF2-40B4-BE49-F238E27FC236}">
                <a16:creationId xmlns:a16="http://schemas.microsoft.com/office/drawing/2014/main" id="{0932FF74-654B-4A76-95C5-96E153E4D480}"/>
              </a:ext>
            </a:extLst>
          </p:cNvPr>
          <p:cNvSpPr txBox="1">
            <a:spLocks/>
          </p:cNvSpPr>
          <p:nvPr/>
        </p:nvSpPr>
        <p:spPr>
          <a:xfrm>
            <a:off x="571500" y="332398"/>
            <a:ext cx="11049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uk-UA" sz="8000" dirty="0">
                <a:solidFill>
                  <a:schemeClr val="bg1"/>
                </a:solidFill>
              </a:rPr>
              <a:t>Давайте</a:t>
            </a:r>
            <a:br>
              <a:rPr lang="en-US" sz="8000" dirty="0">
                <a:solidFill>
                  <a:schemeClr val="bg1"/>
                </a:solidFill>
              </a:rPr>
            </a:br>
            <a:r>
              <a:rPr lang="uk-UA" sz="8000" dirty="0">
                <a:solidFill>
                  <a:schemeClr val="bg1"/>
                </a:solidFill>
              </a:rPr>
              <a:t>слайдам </a:t>
            </a:r>
            <a:br>
              <a:rPr lang="uk-UA" sz="8000" dirty="0">
                <a:solidFill>
                  <a:schemeClr val="bg1"/>
                </a:solidFill>
              </a:rPr>
            </a:br>
            <a:r>
              <a:rPr lang="uk-UA" sz="8000" dirty="0">
                <a:solidFill>
                  <a:schemeClr val="bg1"/>
                </a:solidFill>
              </a:rPr>
              <a:t>дихати</a:t>
            </a:r>
          </a:p>
        </p:txBody>
      </p:sp>
      <p:sp>
        <p:nvSpPr>
          <p:cNvPr id="4" name="Овал 3">
            <a:extLst>
              <a:ext uri="{FF2B5EF4-FFF2-40B4-BE49-F238E27FC236}">
                <a16:creationId xmlns:a16="http://schemas.microsoft.com/office/drawing/2014/main" id="{CF03A13B-4E34-E1F8-C761-6F665D85FCC7}"/>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96062879"/>
      </p:ext>
    </p:extLst>
  </p:cSld>
  <p:clrMapOvr>
    <a:masterClrMapping/>
  </p:clrMapOvr>
  <p:transition spd="slow"/>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єкт 1" hidden="1">
            <a:extLst>
              <a:ext uri="{FF2B5EF4-FFF2-40B4-BE49-F238E27FC236}">
                <a16:creationId xmlns:a16="http://schemas.microsoft.com/office/drawing/2014/main" id="{FDB2F87C-0AF8-46B0-954A-E10B214D2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Об'єкт 1" hidden="1">
                        <a:extLst>
                          <a:ext uri="{FF2B5EF4-FFF2-40B4-BE49-F238E27FC236}">
                            <a16:creationId xmlns:a16="http://schemas.microsoft.com/office/drawing/2014/main" id="{FDB2F87C-0AF8-46B0-954A-E10B214D21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Рисунок 7">
            <a:extLst>
              <a:ext uri="{FF2B5EF4-FFF2-40B4-BE49-F238E27FC236}">
                <a16:creationId xmlns:a16="http://schemas.microsoft.com/office/drawing/2014/main" id="{BC82F042-707D-4DB8-9147-C905B573E6E3}"/>
              </a:ext>
            </a:extLst>
          </p:cNvPr>
          <p:cNvPicPr>
            <a:picLocks noChangeAspect="1"/>
          </p:cNvPicPr>
          <p:nvPr/>
        </p:nvPicPr>
        <p:blipFill>
          <a:blip r:embed="rId5"/>
          <a:stretch>
            <a:fillRect/>
          </a:stretch>
        </p:blipFill>
        <p:spPr>
          <a:xfrm>
            <a:off x="0" y="1390"/>
            <a:ext cx="12192000" cy="6855220"/>
          </a:xfrm>
          <a:prstGeom prst="rect">
            <a:avLst/>
          </a:prstGeom>
        </p:spPr>
      </p:pic>
      <p:sp>
        <p:nvSpPr>
          <p:cNvPr id="3" name="Прямокутник: округлені кути 2">
            <a:extLst>
              <a:ext uri="{FF2B5EF4-FFF2-40B4-BE49-F238E27FC236}">
                <a16:creationId xmlns:a16="http://schemas.microsoft.com/office/drawing/2014/main" id="{81D7548C-3F91-4EDE-9D89-A5AE167AA007}"/>
              </a:ext>
            </a:extLst>
          </p:cNvPr>
          <p:cNvSpPr/>
          <p:nvPr/>
        </p:nvSpPr>
        <p:spPr>
          <a:xfrm>
            <a:off x="4241800" y="2806700"/>
            <a:ext cx="3708400" cy="1244600"/>
          </a:xfrm>
          <a:prstGeom prst="roundRect">
            <a:avLst>
              <a:gd name="adj" fmla="val 50000"/>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uk-UA" sz="2400" dirty="0">
                <a:solidFill>
                  <a:schemeClr val="accent1"/>
                </a:solidFill>
                <a:latin typeface="+mj-lt"/>
              </a:rPr>
              <a:t>Тут нема</a:t>
            </a:r>
          </a:p>
          <a:p>
            <a:r>
              <a:rPr lang="uk-UA" sz="2400" dirty="0">
                <a:solidFill>
                  <a:schemeClr val="accent1"/>
                </a:solidFill>
                <a:latin typeface="+mj-lt"/>
              </a:rPr>
              <a:t>чим дихати</a:t>
            </a:r>
          </a:p>
        </p:txBody>
      </p:sp>
      <p:pic>
        <p:nvPicPr>
          <p:cNvPr id="6" name="Рисунок 5" descr="Зображення, що містить векторна графіка&#10;&#10;Автоматично згенерований опис">
            <a:extLst>
              <a:ext uri="{FF2B5EF4-FFF2-40B4-BE49-F238E27FC236}">
                <a16:creationId xmlns:a16="http://schemas.microsoft.com/office/drawing/2014/main" id="{3EAA18F5-0FE6-48EE-9B19-A5BE02ADF88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42100" y="2997200"/>
            <a:ext cx="863600" cy="863600"/>
          </a:xfrm>
          <a:prstGeom prst="rect">
            <a:avLst/>
          </a:prstGeom>
        </p:spPr>
      </p:pic>
      <p:sp>
        <p:nvSpPr>
          <p:cNvPr id="4" name="Овал 3">
            <a:extLst>
              <a:ext uri="{FF2B5EF4-FFF2-40B4-BE49-F238E27FC236}">
                <a16:creationId xmlns:a16="http://schemas.microsoft.com/office/drawing/2014/main" id="{12A8F63B-75D0-8AD2-F3AF-032A2B1C2838}"/>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6869344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Об'єкт 25" hidden="1">
            <a:extLst>
              <a:ext uri="{FF2B5EF4-FFF2-40B4-BE49-F238E27FC236}">
                <a16:creationId xmlns:a16="http://schemas.microsoft.com/office/drawing/2014/main" id="{7FB29B9B-E137-4262-9A2D-845437BD86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6" name="Об'єкт 25" hidden="1">
                        <a:extLst>
                          <a:ext uri="{FF2B5EF4-FFF2-40B4-BE49-F238E27FC236}">
                            <a16:creationId xmlns:a16="http://schemas.microsoft.com/office/drawing/2014/main" id="{7FB29B9B-E137-4262-9A2D-845437BD8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Рисунок 2">
            <a:extLst>
              <a:ext uri="{FF2B5EF4-FFF2-40B4-BE49-F238E27FC236}">
                <a16:creationId xmlns:a16="http://schemas.microsoft.com/office/drawing/2014/main" id="{29AF1E3B-3827-4E60-A685-17E32297246E}"/>
              </a:ext>
            </a:extLst>
          </p:cNvPr>
          <p:cNvPicPr>
            <a:picLocks noChangeAspect="1"/>
          </p:cNvPicPr>
          <p:nvPr/>
        </p:nvPicPr>
        <p:blipFill>
          <a:blip r:embed="rId5">
            <a:extLst>
              <a:ext uri="{BEBA8EAE-BF5A-486C-A8C5-ECC9F3942E4B}">
                <a14:imgProps xmlns:a14="http://schemas.microsoft.com/office/drawing/2010/main">
                  <a14:imgLayer r:embed="rId6">
                    <a14:imgEffect>
                      <a14:saturation sat="66000"/>
                    </a14:imgEffect>
                  </a14:imgLayer>
                </a14:imgProps>
              </a:ext>
            </a:extLst>
          </a:blip>
          <a:stretch>
            <a:fillRect/>
          </a:stretch>
        </p:blipFill>
        <p:spPr>
          <a:xfrm>
            <a:off x="1776000" y="999985"/>
            <a:ext cx="8640000" cy="485803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0" name="Прямокутник 29">
            <a:extLst>
              <a:ext uri="{FF2B5EF4-FFF2-40B4-BE49-F238E27FC236}">
                <a16:creationId xmlns:a16="http://schemas.microsoft.com/office/drawing/2014/main" id="{38FC23DE-8CDA-4558-80D1-E74C1F71B7E7}"/>
              </a:ext>
            </a:extLst>
          </p:cNvPr>
          <p:cNvSpPr/>
          <p:nvPr/>
        </p:nvSpPr>
        <p:spPr>
          <a:xfrm>
            <a:off x="4632301" y="6222971"/>
            <a:ext cx="2927398"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тут є чим дихати</a:t>
            </a:r>
            <a:endParaRPr lang="en-US" sz="1600" dirty="0">
              <a:solidFill>
                <a:schemeClr val="tx1"/>
              </a:solidFill>
              <a:latin typeface="+mj-lt"/>
            </a:endParaRPr>
          </a:p>
        </p:txBody>
      </p:sp>
      <p:grpSp>
        <p:nvGrpSpPr>
          <p:cNvPr id="4" name="Групувати 3">
            <a:extLst>
              <a:ext uri="{FF2B5EF4-FFF2-40B4-BE49-F238E27FC236}">
                <a16:creationId xmlns:a16="http://schemas.microsoft.com/office/drawing/2014/main" id="{3295083E-F9F6-4B00-8E72-5B2B0EDAFC8C}"/>
              </a:ext>
            </a:extLst>
          </p:cNvPr>
          <p:cNvGrpSpPr/>
          <p:nvPr/>
        </p:nvGrpSpPr>
        <p:grpSpPr>
          <a:xfrm>
            <a:off x="12331304" y="4744494"/>
            <a:ext cx="7163347" cy="631140"/>
            <a:chOff x="2478997" y="4744494"/>
            <a:chExt cx="7163347" cy="631140"/>
          </a:xfrm>
        </p:grpSpPr>
        <p:grpSp>
          <p:nvGrpSpPr>
            <p:cNvPr id="69" name="Групувати 68">
              <a:extLst>
                <a:ext uri="{FF2B5EF4-FFF2-40B4-BE49-F238E27FC236}">
                  <a16:creationId xmlns:a16="http://schemas.microsoft.com/office/drawing/2014/main" id="{3B07454F-D522-4624-ADDE-6E6D652D3E37}"/>
                </a:ext>
              </a:extLst>
            </p:cNvPr>
            <p:cNvGrpSpPr/>
            <p:nvPr/>
          </p:nvGrpSpPr>
          <p:grpSpPr>
            <a:xfrm flipH="1">
              <a:off x="5831164" y="4744494"/>
              <a:ext cx="459011" cy="631140"/>
              <a:chOff x="14502170" y="2407694"/>
              <a:chExt cx="1258529" cy="1730477"/>
            </a:xfrm>
          </p:grpSpPr>
          <p:sp>
            <p:nvSpPr>
              <p:cNvPr id="70" name="Полілінія: фігура 69">
                <a:extLst>
                  <a:ext uri="{FF2B5EF4-FFF2-40B4-BE49-F238E27FC236}">
                    <a16:creationId xmlns:a16="http://schemas.microsoft.com/office/drawing/2014/main" id="{77633F8F-DD44-4533-A5E9-91D92A1FA0B4}"/>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71" name="Полілінія: фігура 70">
                <a:extLst>
                  <a:ext uri="{FF2B5EF4-FFF2-40B4-BE49-F238E27FC236}">
                    <a16:creationId xmlns:a16="http://schemas.microsoft.com/office/drawing/2014/main" id="{06CF4F83-6A6C-4777-BF47-5E23E1D4527A}"/>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72" name="Полілінія: фігура 71">
                <a:extLst>
                  <a:ext uri="{FF2B5EF4-FFF2-40B4-BE49-F238E27FC236}">
                    <a16:creationId xmlns:a16="http://schemas.microsoft.com/office/drawing/2014/main" id="{C231678B-1A32-40E6-88A3-A87EB3D565CF}"/>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73" name="Групувати 72">
              <a:extLst>
                <a:ext uri="{FF2B5EF4-FFF2-40B4-BE49-F238E27FC236}">
                  <a16:creationId xmlns:a16="http://schemas.microsoft.com/office/drawing/2014/main" id="{15804A0A-611B-40F1-9722-A7B11CC10309}"/>
                </a:ext>
              </a:extLst>
            </p:cNvPr>
            <p:cNvGrpSpPr/>
            <p:nvPr/>
          </p:nvGrpSpPr>
          <p:grpSpPr>
            <a:xfrm flipH="1">
              <a:off x="6948553" y="4744494"/>
              <a:ext cx="459011" cy="631140"/>
              <a:chOff x="14502170" y="2407694"/>
              <a:chExt cx="1258529" cy="1730477"/>
            </a:xfrm>
          </p:grpSpPr>
          <p:sp>
            <p:nvSpPr>
              <p:cNvPr id="74" name="Полілінія: фігура 73">
                <a:extLst>
                  <a:ext uri="{FF2B5EF4-FFF2-40B4-BE49-F238E27FC236}">
                    <a16:creationId xmlns:a16="http://schemas.microsoft.com/office/drawing/2014/main" id="{6B231295-EA62-4502-B457-38A00FBA8D07}"/>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75" name="Полілінія: фігура 74">
                <a:extLst>
                  <a:ext uri="{FF2B5EF4-FFF2-40B4-BE49-F238E27FC236}">
                    <a16:creationId xmlns:a16="http://schemas.microsoft.com/office/drawing/2014/main" id="{2B816A8E-550A-4980-BB06-C4EE628DF5FA}"/>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76" name="Полілінія: фігура 75">
                <a:extLst>
                  <a:ext uri="{FF2B5EF4-FFF2-40B4-BE49-F238E27FC236}">
                    <a16:creationId xmlns:a16="http://schemas.microsoft.com/office/drawing/2014/main" id="{3CDB717F-DF3B-474D-952D-D5F8A4BDBD30}"/>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77" name="Групувати 76">
              <a:extLst>
                <a:ext uri="{FF2B5EF4-FFF2-40B4-BE49-F238E27FC236}">
                  <a16:creationId xmlns:a16="http://schemas.microsoft.com/office/drawing/2014/main" id="{7AB66A2E-92D4-48A9-9247-2D26A15E40A6}"/>
                </a:ext>
              </a:extLst>
            </p:cNvPr>
            <p:cNvGrpSpPr/>
            <p:nvPr/>
          </p:nvGrpSpPr>
          <p:grpSpPr>
            <a:xfrm flipH="1">
              <a:off x="8065942" y="4744494"/>
              <a:ext cx="459011" cy="631140"/>
              <a:chOff x="14502170" y="2407694"/>
              <a:chExt cx="1258529" cy="1730477"/>
            </a:xfrm>
          </p:grpSpPr>
          <p:sp>
            <p:nvSpPr>
              <p:cNvPr id="78" name="Полілінія: фігура 77">
                <a:extLst>
                  <a:ext uri="{FF2B5EF4-FFF2-40B4-BE49-F238E27FC236}">
                    <a16:creationId xmlns:a16="http://schemas.microsoft.com/office/drawing/2014/main" id="{459BD80E-781C-4E67-8CBA-D1560383791B}"/>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79" name="Полілінія: фігура 78">
                <a:extLst>
                  <a:ext uri="{FF2B5EF4-FFF2-40B4-BE49-F238E27FC236}">
                    <a16:creationId xmlns:a16="http://schemas.microsoft.com/office/drawing/2014/main" id="{8924C600-0F08-4103-B20F-F79DDD070632}"/>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80" name="Полілінія: фігура 79">
                <a:extLst>
                  <a:ext uri="{FF2B5EF4-FFF2-40B4-BE49-F238E27FC236}">
                    <a16:creationId xmlns:a16="http://schemas.microsoft.com/office/drawing/2014/main" id="{A58BECD2-2149-4B81-AC8E-13C210705D2B}"/>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81" name="Групувати 80">
              <a:extLst>
                <a:ext uri="{FF2B5EF4-FFF2-40B4-BE49-F238E27FC236}">
                  <a16:creationId xmlns:a16="http://schemas.microsoft.com/office/drawing/2014/main" id="{D3C3C587-92E9-408B-8524-CC200FEA00C9}"/>
                </a:ext>
              </a:extLst>
            </p:cNvPr>
            <p:cNvGrpSpPr/>
            <p:nvPr/>
          </p:nvGrpSpPr>
          <p:grpSpPr>
            <a:xfrm flipH="1">
              <a:off x="9183333" y="4744494"/>
              <a:ext cx="459011" cy="631140"/>
              <a:chOff x="14502170" y="2407694"/>
              <a:chExt cx="1258529" cy="1730477"/>
            </a:xfrm>
          </p:grpSpPr>
          <p:sp>
            <p:nvSpPr>
              <p:cNvPr id="82" name="Полілінія: фігура 81">
                <a:extLst>
                  <a:ext uri="{FF2B5EF4-FFF2-40B4-BE49-F238E27FC236}">
                    <a16:creationId xmlns:a16="http://schemas.microsoft.com/office/drawing/2014/main" id="{49B91263-53E2-415A-A810-94B63B53FE86}"/>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83" name="Полілінія: фігура 82">
                <a:extLst>
                  <a:ext uri="{FF2B5EF4-FFF2-40B4-BE49-F238E27FC236}">
                    <a16:creationId xmlns:a16="http://schemas.microsoft.com/office/drawing/2014/main" id="{7FB1190A-4F77-434B-BCF7-B720D41414C0}"/>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84" name="Полілінія: фігура 83">
                <a:extLst>
                  <a:ext uri="{FF2B5EF4-FFF2-40B4-BE49-F238E27FC236}">
                    <a16:creationId xmlns:a16="http://schemas.microsoft.com/office/drawing/2014/main" id="{CABBB573-7CF5-4E23-8851-4C81FD758F39}"/>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85" name="Групувати 84">
              <a:extLst>
                <a:ext uri="{FF2B5EF4-FFF2-40B4-BE49-F238E27FC236}">
                  <a16:creationId xmlns:a16="http://schemas.microsoft.com/office/drawing/2014/main" id="{F28096A7-0A21-4B8C-A24F-E7BE8F72A5EE}"/>
                </a:ext>
              </a:extLst>
            </p:cNvPr>
            <p:cNvGrpSpPr/>
            <p:nvPr/>
          </p:nvGrpSpPr>
          <p:grpSpPr>
            <a:xfrm flipH="1">
              <a:off x="4713775" y="4744494"/>
              <a:ext cx="459011" cy="631140"/>
              <a:chOff x="14502170" y="2407694"/>
              <a:chExt cx="1258529" cy="1730477"/>
            </a:xfrm>
          </p:grpSpPr>
          <p:sp>
            <p:nvSpPr>
              <p:cNvPr id="86" name="Полілінія: фігура 85">
                <a:extLst>
                  <a:ext uri="{FF2B5EF4-FFF2-40B4-BE49-F238E27FC236}">
                    <a16:creationId xmlns:a16="http://schemas.microsoft.com/office/drawing/2014/main" id="{66CF7636-FD82-4F0A-B0EC-84E4687DAA53}"/>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87" name="Полілінія: фігура 86">
                <a:extLst>
                  <a:ext uri="{FF2B5EF4-FFF2-40B4-BE49-F238E27FC236}">
                    <a16:creationId xmlns:a16="http://schemas.microsoft.com/office/drawing/2014/main" id="{6DDF06A7-D160-4FE3-B53F-096FED02E242}"/>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88" name="Полілінія: фігура 87">
                <a:extLst>
                  <a:ext uri="{FF2B5EF4-FFF2-40B4-BE49-F238E27FC236}">
                    <a16:creationId xmlns:a16="http://schemas.microsoft.com/office/drawing/2014/main" id="{4B95F45F-2378-4297-A41B-0CFCAF33CA06}"/>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89" name="Групувати 88">
              <a:extLst>
                <a:ext uri="{FF2B5EF4-FFF2-40B4-BE49-F238E27FC236}">
                  <a16:creationId xmlns:a16="http://schemas.microsoft.com/office/drawing/2014/main" id="{DF17F1A9-A3C4-4545-B5BA-0F1A2DB81276}"/>
                </a:ext>
              </a:extLst>
            </p:cNvPr>
            <p:cNvGrpSpPr/>
            <p:nvPr/>
          </p:nvGrpSpPr>
          <p:grpSpPr>
            <a:xfrm flipH="1">
              <a:off x="3596386" y="4744494"/>
              <a:ext cx="459011" cy="631140"/>
              <a:chOff x="14502170" y="2407694"/>
              <a:chExt cx="1258529" cy="1730477"/>
            </a:xfrm>
          </p:grpSpPr>
          <p:sp>
            <p:nvSpPr>
              <p:cNvPr id="90" name="Полілінія: фігура 89">
                <a:extLst>
                  <a:ext uri="{FF2B5EF4-FFF2-40B4-BE49-F238E27FC236}">
                    <a16:creationId xmlns:a16="http://schemas.microsoft.com/office/drawing/2014/main" id="{E28542F7-8793-4EF3-A433-ED0704A78516}"/>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91" name="Полілінія: фігура 90">
                <a:extLst>
                  <a:ext uri="{FF2B5EF4-FFF2-40B4-BE49-F238E27FC236}">
                    <a16:creationId xmlns:a16="http://schemas.microsoft.com/office/drawing/2014/main" id="{29C446BC-F666-48DF-AD86-09ACBBCBA3B6}"/>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92" name="Полілінія: фігура 91">
                <a:extLst>
                  <a:ext uri="{FF2B5EF4-FFF2-40B4-BE49-F238E27FC236}">
                    <a16:creationId xmlns:a16="http://schemas.microsoft.com/office/drawing/2014/main" id="{1D75C729-375D-4C20-9363-93814E7D4819}"/>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93" name="Групувати 92">
              <a:extLst>
                <a:ext uri="{FF2B5EF4-FFF2-40B4-BE49-F238E27FC236}">
                  <a16:creationId xmlns:a16="http://schemas.microsoft.com/office/drawing/2014/main" id="{14A19D71-9BE1-4F8E-A109-46ECC3128853}"/>
                </a:ext>
              </a:extLst>
            </p:cNvPr>
            <p:cNvGrpSpPr/>
            <p:nvPr/>
          </p:nvGrpSpPr>
          <p:grpSpPr>
            <a:xfrm flipH="1">
              <a:off x="2478997" y="4744494"/>
              <a:ext cx="459011" cy="631140"/>
              <a:chOff x="14502170" y="2407694"/>
              <a:chExt cx="1258529" cy="1730477"/>
            </a:xfrm>
          </p:grpSpPr>
          <p:sp>
            <p:nvSpPr>
              <p:cNvPr id="94" name="Полілінія: фігура 93">
                <a:extLst>
                  <a:ext uri="{FF2B5EF4-FFF2-40B4-BE49-F238E27FC236}">
                    <a16:creationId xmlns:a16="http://schemas.microsoft.com/office/drawing/2014/main" id="{C3809A37-1C22-4EAC-8E44-567802874438}"/>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95" name="Полілінія: фігура 94">
                <a:extLst>
                  <a:ext uri="{FF2B5EF4-FFF2-40B4-BE49-F238E27FC236}">
                    <a16:creationId xmlns:a16="http://schemas.microsoft.com/office/drawing/2014/main" id="{70810F9E-D504-4F13-8A99-13ED03A29EF2}"/>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96" name="Полілінія: фігура 95">
                <a:extLst>
                  <a:ext uri="{FF2B5EF4-FFF2-40B4-BE49-F238E27FC236}">
                    <a16:creationId xmlns:a16="http://schemas.microsoft.com/office/drawing/2014/main" id="{C72DF81B-BA07-4665-9130-B77A5E39CBCD}"/>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pic>
        <p:nvPicPr>
          <p:cNvPr id="97" name="Picture 6" descr="Index Pointing Up on Apple iOS 14.2">
            <a:extLst>
              <a:ext uri="{FF2B5EF4-FFF2-40B4-BE49-F238E27FC236}">
                <a16:creationId xmlns:a16="http://schemas.microsoft.com/office/drawing/2014/main" id="{A0ACF027-E9D9-4260-8D2B-A5AF61D54A3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36000" y="5555392"/>
            <a:ext cx="72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28" name="Групувати 127">
            <a:extLst>
              <a:ext uri="{FF2B5EF4-FFF2-40B4-BE49-F238E27FC236}">
                <a16:creationId xmlns:a16="http://schemas.microsoft.com/office/drawing/2014/main" id="{6E2D7A53-BA9E-4B14-AB02-2A224B37E0B9}"/>
              </a:ext>
            </a:extLst>
          </p:cNvPr>
          <p:cNvGrpSpPr/>
          <p:nvPr/>
        </p:nvGrpSpPr>
        <p:grpSpPr>
          <a:xfrm flipH="1">
            <a:off x="-7302651" y="2407694"/>
            <a:ext cx="7163347" cy="631140"/>
            <a:chOff x="2478997" y="4744494"/>
            <a:chExt cx="7163347" cy="631140"/>
          </a:xfrm>
        </p:grpSpPr>
        <p:grpSp>
          <p:nvGrpSpPr>
            <p:cNvPr id="129" name="Групувати 128">
              <a:extLst>
                <a:ext uri="{FF2B5EF4-FFF2-40B4-BE49-F238E27FC236}">
                  <a16:creationId xmlns:a16="http://schemas.microsoft.com/office/drawing/2014/main" id="{AC90B4E9-1B80-433C-918B-AD3E5B42CAA1}"/>
                </a:ext>
              </a:extLst>
            </p:cNvPr>
            <p:cNvGrpSpPr/>
            <p:nvPr/>
          </p:nvGrpSpPr>
          <p:grpSpPr>
            <a:xfrm flipH="1">
              <a:off x="5831164" y="4744494"/>
              <a:ext cx="459011" cy="631140"/>
              <a:chOff x="14502170" y="2407694"/>
              <a:chExt cx="1258529" cy="1730477"/>
            </a:xfrm>
          </p:grpSpPr>
          <p:sp>
            <p:nvSpPr>
              <p:cNvPr id="154" name="Полілінія: фігура 153">
                <a:extLst>
                  <a:ext uri="{FF2B5EF4-FFF2-40B4-BE49-F238E27FC236}">
                    <a16:creationId xmlns:a16="http://schemas.microsoft.com/office/drawing/2014/main" id="{F8C0ADC2-A2C7-42BB-9D22-1C5575295AF0}"/>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55" name="Полілінія: фігура 154">
                <a:extLst>
                  <a:ext uri="{FF2B5EF4-FFF2-40B4-BE49-F238E27FC236}">
                    <a16:creationId xmlns:a16="http://schemas.microsoft.com/office/drawing/2014/main" id="{90CF8CD9-3232-43CB-8064-65ED9F71DC98}"/>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56" name="Полілінія: фігура 155">
                <a:extLst>
                  <a:ext uri="{FF2B5EF4-FFF2-40B4-BE49-F238E27FC236}">
                    <a16:creationId xmlns:a16="http://schemas.microsoft.com/office/drawing/2014/main" id="{4660425D-1032-46E8-AAA2-8A26F4303E5A}"/>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130" name="Групувати 129">
              <a:extLst>
                <a:ext uri="{FF2B5EF4-FFF2-40B4-BE49-F238E27FC236}">
                  <a16:creationId xmlns:a16="http://schemas.microsoft.com/office/drawing/2014/main" id="{7E976E02-94A8-4DDF-9CF2-CD0431AF88CD}"/>
                </a:ext>
              </a:extLst>
            </p:cNvPr>
            <p:cNvGrpSpPr/>
            <p:nvPr/>
          </p:nvGrpSpPr>
          <p:grpSpPr>
            <a:xfrm flipH="1">
              <a:off x="6948553" y="4744494"/>
              <a:ext cx="459011" cy="631140"/>
              <a:chOff x="14502170" y="2407694"/>
              <a:chExt cx="1258529" cy="1730477"/>
            </a:xfrm>
          </p:grpSpPr>
          <p:sp>
            <p:nvSpPr>
              <p:cNvPr id="151" name="Полілінія: фігура 150">
                <a:extLst>
                  <a:ext uri="{FF2B5EF4-FFF2-40B4-BE49-F238E27FC236}">
                    <a16:creationId xmlns:a16="http://schemas.microsoft.com/office/drawing/2014/main" id="{6D8446B9-671E-45AF-8449-40907116717B}"/>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52" name="Полілінія: фігура 151">
                <a:extLst>
                  <a:ext uri="{FF2B5EF4-FFF2-40B4-BE49-F238E27FC236}">
                    <a16:creationId xmlns:a16="http://schemas.microsoft.com/office/drawing/2014/main" id="{CB3F85A1-5729-408B-9D70-019544D817A6}"/>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53" name="Полілінія: фігура 152">
                <a:extLst>
                  <a:ext uri="{FF2B5EF4-FFF2-40B4-BE49-F238E27FC236}">
                    <a16:creationId xmlns:a16="http://schemas.microsoft.com/office/drawing/2014/main" id="{C8CFE39B-BC2A-4540-B0FE-CF13E08BA08A}"/>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131" name="Групувати 130">
              <a:extLst>
                <a:ext uri="{FF2B5EF4-FFF2-40B4-BE49-F238E27FC236}">
                  <a16:creationId xmlns:a16="http://schemas.microsoft.com/office/drawing/2014/main" id="{5E46F6FE-481D-4D17-BFD9-52B09CAB7466}"/>
                </a:ext>
              </a:extLst>
            </p:cNvPr>
            <p:cNvGrpSpPr/>
            <p:nvPr/>
          </p:nvGrpSpPr>
          <p:grpSpPr>
            <a:xfrm flipH="1">
              <a:off x="8065942" y="4744494"/>
              <a:ext cx="459011" cy="631140"/>
              <a:chOff x="14502170" y="2407694"/>
              <a:chExt cx="1258529" cy="1730477"/>
            </a:xfrm>
          </p:grpSpPr>
          <p:sp>
            <p:nvSpPr>
              <p:cNvPr id="148" name="Полілінія: фігура 147">
                <a:extLst>
                  <a:ext uri="{FF2B5EF4-FFF2-40B4-BE49-F238E27FC236}">
                    <a16:creationId xmlns:a16="http://schemas.microsoft.com/office/drawing/2014/main" id="{C1562B71-F732-4538-A7B7-12E18B1CD567}"/>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49" name="Полілінія: фігура 148">
                <a:extLst>
                  <a:ext uri="{FF2B5EF4-FFF2-40B4-BE49-F238E27FC236}">
                    <a16:creationId xmlns:a16="http://schemas.microsoft.com/office/drawing/2014/main" id="{0373640A-362B-4E4B-9074-2F357AE4DFB8}"/>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50" name="Полілінія: фігура 149">
                <a:extLst>
                  <a:ext uri="{FF2B5EF4-FFF2-40B4-BE49-F238E27FC236}">
                    <a16:creationId xmlns:a16="http://schemas.microsoft.com/office/drawing/2014/main" id="{21B71633-CD7C-410E-839E-DD572D9188EA}"/>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132" name="Групувати 131">
              <a:extLst>
                <a:ext uri="{FF2B5EF4-FFF2-40B4-BE49-F238E27FC236}">
                  <a16:creationId xmlns:a16="http://schemas.microsoft.com/office/drawing/2014/main" id="{5CF91F2D-8773-494E-9B45-09A7F7DD057A}"/>
                </a:ext>
              </a:extLst>
            </p:cNvPr>
            <p:cNvGrpSpPr/>
            <p:nvPr/>
          </p:nvGrpSpPr>
          <p:grpSpPr>
            <a:xfrm flipH="1">
              <a:off x="9183333" y="4744494"/>
              <a:ext cx="459011" cy="631140"/>
              <a:chOff x="14502170" y="2407694"/>
              <a:chExt cx="1258529" cy="1730477"/>
            </a:xfrm>
          </p:grpSpPr>
          <p:sp>
            <p:nvSpPr>
              <p:cNvPr id="145" name="Полілінія: фігура 144">
                <a:extLst>
                  <a:ext uri="{FF2B5EF4-FFF2-40B4-BE49-F238E27FC236}">
                    <a16:creationId xmlns:a16="http://schemas.microsoft.com/office/drawing/2014/main" id="{75E85B80-8971-4CDE-AE27-0C5000219AA4}"/>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46" name="Полілінія: фігура 145">
                <a:extLst>
                  <a:ext uri="{FF2B5EF4-FFF2-40B4-BE49-F238E27FC236}">
                    <a16:creationId xmlns:a16="http://schemas.microsoft.com/office/drawing/2014/main" id="{BE7DFADD-AB12-48EE-AA97-4241DC0BE0FD}"/>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47" name="Полілінія: фігура 146">
                <a:extLst>
                  <a:ext uri="{FF2B5EF4-FFF2-40B4-BE49-F238E27FC236}">
                    <a16:creationId xmlns:a16="http://schemas.microsoft.com/office/drawing/2014/main" id="{A82D57F3-240F-4271-9A68-E294532A0B8F}"/>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133" name="Групувати 132">
              <a:extLst>
                <a:ext uri="{FF2B5EF4-FFF2-40B4-BE49-F238E27FC236}">
                  <a16:creationId xmlns:a16="http://schemas.microsoft.com/office/drawing/2014/main" id="{F986B5FA-08D5-47AB-9F55-29FDFB3EF211}"/>
                </a:ext>
              </a:extLst>
            </p:cNvPr>
            <p:cNvGrpSpPr/>
            <p:nvPr/>
          </p:nvGrpSpPr>
          <p:grpSpPr>
            <a:xfrm flipH="1">
              <a:off x="4713775" y="4744494"/>
              <a:ext cx="459011" cy="631140"/>
              <a:chOff x="14502170" y="2407694"/>
              <a:chExt cx="1258529" cy="1730477"/>
            </a:xfrm>
          </p:grpSpPr>
          <p:sp>
            <p:nvSpPr>
              <p:cNvPr id="142" name="Полілінія: фігура 141">
                <a:extLst>
                  <a:ext uri="{FF2B5EF4-FFF2-40B4-BE49-F238E27FC236}">
                    <a16:creationId xmlns:a16="http://schemas.microsoft.com/office/drawing/2014/main" id="{82F77FB1-3758-4569-8419-F8F14908BA16}"/>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43" name="Полілінія: фігура 142">
                <a:extLst>
                  <a:ext uri="{FF2B5EF4-FFF2-40B4-BE49-F238E27FC236}">
                    <a16:creationId xmlns:a16="http://schemas.microsoft.com/office/drawing/2014/main" id="{6BE363B4-F972-444A-8EA1-3BD5A0691B45}"/>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44" name="Полілінія: фігура 143">
                <a:extLst>
                  <a:ext uri="{FF2B5EF4-FFF2-40B4-BE49-F238E27FC236}">
                    <a16:creationId xmlns:a16="http://schemas.microsoft.com/office/drawing/2014/main" id="{73110CE3-031E-4400-933F-7AA4399B5959}"/>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134" name="Групувати 133">
              <a:extLst>
                <a:ext uri="{FF2B5EF4-FFF2-40B4-BE49-F238E27FC236}">
                  <a16:creationId xmlns:a16="http://schemas.microsoft.com/office/drawing/2014/main" id="{C4903214-E81B-460A-BA70-F146A1518759}"/>
                </a:ext>
              </a:extLst>
            </p:cNvPr>
            <p:cNvGrpSpPr/>
            <p:nvPr/>
          </p:nvGrpSpPr>
          <p:grpSpPr>
            <a:xfrm flipH="1">
              <a:off x="3596386" y="4744494"/>
              <a:ext cx="459011" cy="631140"/>
              <a:chOff x="14502170" y="2407694"/>
              <a:chExt cx="1258529" cy="1730477"/>
            </a:xfrm>
          </p:grpSpPr>
          <p:sp>
            <p:nvSpPr>
              <p:cNvPr id="139" name="Полілінія: фігура 138">
                <a:extLst>
                  <a:ext uri="{FF2B5EF4-FFF2-40B4-BE49-F238E27FC236}">
                    <a16:creationId xmlns:a16="http://schemas.microsoft.com/office/drawing/2014/main" id="{0BE133D6-1CF3-485A-AD93-1388801D7D4F}"/>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40" name="Полілінія: фігура 139">
                <a:extLst>
                  <a:ext uri="{FF2B5EF4-FFF2-40B4-BE49-F238E27FC236}">
                    <a16:creationId xmlns:a16="http://schemas.microsoft.com/office/drawing/2014/main" id="{D8C37303-78FA-4102-8B74-D6F6414B51D1}"/>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41" name="Полілінія: фігура 140">
                <a:extLst>
                  <a:ext uri="{FF2B5EF4-FFF2-40B4-BE49-F238E27FC236}">
                    <a16:creationId xmlns:a16="http://schemas.microsoft.com/office/drawing/2014/main" id="{3FF76DAF-620C-473B-AFC8-0DEA1109ADC6}"/>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nvGrpSpPr>
            <p:cNvPr id="135" name="Групувати 134">
              <a:extLst>
                <a:ext uri="{FF2B5EF4-FFF2-40B4-BE49-F238E27FC236}">
                  <a16:creationId xmlns:a16="http://schemas.microsoft.com/office/drawing/2014/main" id="{39942E56-1786-41DE-BA3C-75AA3DE424B6}"/>
                </a:ext>
              </a:extLst>
            </p:cNvPr>
            <p:cNvGrpSpPr/>
            <p:nvPr/>
          </p:nvGrpSpPr>
          <p:grpSpPr>
            <a:xfrm flipH="1">
              <a:off x="2478997" y="4744494"/>
              <a:ext cx="459011" cy="631140"/>
              <a:chOff x="14502170" y="2407694"/>
              <a:chExt cx="1258529" cy="1730477"/>
            </a:xfrm>
          </p:grpSpPr>
          <p:sp>
            <p:nvSpPr>
              <p:cNvPr id="136" name="Полілінія: фігура 135">
                <a:extLst>
                  <a:ext uri="{FF2B5EF4-FFF2-40B4-BE49-F238E27FC236}">
                    <a16:creationId xmlns:a16="http://schemas.microsoft.com/office/drawing/2014/main" id="{17EAFEDF-0F57-4344-BCDA-F702BCD3ECC4}"/>
                  </a:ext>
                </a:extLst>
              </p:cNvPr>
              <p:cNvSpPr/>
              <p:nvPr/>
            </p:nvSpPr>
            <p:spPr>
              <a:xfrm>
                <a:off x="14659487" y="3508907"/>
                <a:ext cx="1101212" cy="629264"/>
              </a:xfrm>
              <a:custGeom>
                <a:avLst/>
                <a:gdLst>
                  <a:gd name="connsiteX0" fmla="*/ 707923 w 1101212"/>
                  <a:gd name="connsiteY0" fmla="*/ 0 h 629264"/>
                  <a:gd name="connsiteX1" fmla="*/ 0 w 1101212"/>
                  <a:gd name="connsiteY1" fmla="*/ 0 h 629264"/>
                  <a:gd name="connsiteX2" fmla="*/ 0 w 1101212"/>
                  <a:gd name="connsiteY2" fmla="*/ 157316 h 629264"/>
                  <a:gd name="connsiteX3" fmla="*/ 707923 w 1101212"/>
                  <a:gd name="connsiteY3" fmla="*/ 157316 h 629264"/>
                  <a:gd name="connsiteX4" fmla="*/ 943897 w 1101212"/>
                  <a:gd name="connsiteY4" fmla="*/ 393290 h 629264"/>
                  <a:gd name="connsiteX5" fmla="*/ 865239 w 1101212"/>
                  <a:gd name="connsiteY5" fmla="*/ 471948 h 629264"/>
                  <a:gd name="connsiteX6" fmla="*/ 786581 w 1101212"/>
                  <a:gd name="connsiteY6" fmla="*/ 393290 h 629264"/>
                  <a:gd name="connsiteX7" fmla="*/ 786581 w 1101212"/>
                  <a:gd name="connsiteY7" fmla="*/ 314632 h 629264"/>
                  <a:gd name="connsiteX8" fmla="*/ 629265 w 1101212"/>
                  <a:gd name="connsiteY8" fmla="*/ 314632 h 629264"/>
                  <a:gd name="connsiteX9" fmla="*/ 629265 w 1101212"/>
                  <a:gd name="connsiteY9" fmla="*/ 393290 h 629264"/>
                  <a:gd name="connsiteX10" fmla="*/ 865239 w 1101212"/>
                  <a:gd name="connsiteY10" fmla="*/ 629265 h 629264"/>
                  <a:gd name="connsiteX11" fmla="*/ 1101213 w 1101212"/>
                  <a:gd name="connsiteY11" fmla="*/ 393290 h 629264"/>
                  <a:gd name="connsiteX12" fmla="*/ 707923 w 1101212"/>
                  <a:gd name="connsiteY12" fmla="*/ 0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212" h="629264">
                    <a:moveTo>
                      <a:pt x="707923" y="0"/>
                    </a:moveTo>
                    <a:lnTo>
                      <a:pt x="0" y="0"/>
                    </a:lnTo>
                    <a:lnTo>
                      <a:pt x="0" y="157316"/>
                    </a:lnTo>
                    <a:lnTo>
                      <a:pt x="707923" y="157316"/>
                    </a:lnTo>
                    <a:cubicBezTo>
                      <a:pt x="838023" y="157316"/>
                      <a:pt x="943897" y="263190"/>
                      <a:pt x="943897" y="393290"/>
                    </a:cubicBezTo>
                    <a:cubicBezTo>
                      <a:pt x="943897" y="436631"/>
                      <a:pt x="908579" y="471948"/>
                      <a:pt x="865239" y="471948"/>
                    </a:cubicBezTo>
                    <a:cubicBezTo>
                      <a:pt x="821898" y="471948"/>
                      <a:pt x="786581" y="436631"/>
                      <a:pt x="786581" y="393290"/>
                    </a:cubicBezTo>
                    <a:lnTo>
                      <a:pt x="786581" y="314632"/>
                    </a:lnTo>
                    <a:lnTo>
                      <a:pt x="629265" y="314632"/>
                    </a:lnTo>
                    <a:lnTo>
                      <a:pt x="629265" y="393290"/>
                    </a:lnTo>
                    <a:cubicBezTo>
                      <a:pt x="629265" y="523391"/>
                      <a:pt x="735138" y="629265"/>
                      <a:pt x="865239" y="629265"/>
                    </a:cubicBezTo>
                    <a:cubicBezTo>
                      <a:pt x="995339" y="629265"/>
                      <a:pt x="1101213" y="523391"/>
                      <a:pt x="1101213" y="393290"/>
                    </a:cubicBezTo>
                    <a:cubicBezTo>
                      <a:pt x="1101213" y="176430"/>
                      <a:pt x="924783" y="0"/>
                      <a:pt x="707923" y="0"/>
                    </a:cubicBezTo>
                    <a:close/>
                  </a:path>
                </a:pathLst>
              </a:custGeom>
              <a:solidFill>
                <a:srgbClr val="00B0F0">
                  <a:alpha val="20000"/>
                </a:srgbClr>
              </a:solidFill>
              <a:ln w="78658" cap="flat">
                <a:noFill/>
                <a:prstDash val="solid"/>
                <a:miter/>
              </a:ln>
            </p:spPr>
            <p:txBody>
              <a:bodyPr rtlCol="0" anchor="ctr"/>
              <a:lstStyle/>
              <a:p>
                <a:endParaRPr lang="uk-UA"/>
              </a:p>
            </p:txBody>
          </p:sp>
          <p:sp>
            <p:nvSpPr>
              <p:cNvPr id="137" name="Полілінія: фігура 136">
                <a:extLst>
                  <a:ext uri="{FF2B5EF4-FFF2-40B4-BE49-F238E27FC236}">
                    <a16:creationId xmlns:a16="http://schemas.microsoft.com/office/drawing/2014/main" id="{0DCBF027-D3EF-4041-9D2C-7F689073E0C6}"/>
                  </a:ext>
                </a:extLst>
              </p:cNvPr>
              <p:cNvSpPr/>
              <p:nvPr/>
            </p:nvSpPr>
            <p:spPr>
              <a:xfrm>
                <a:off x="14659487" y="2407694"/>
                <a:ext cx="1101212" cy="629264"/>
              </a:xfrm>
              <a:custGeom>
                <a:avLst/>
                <a:gdLst>
                  <a:gd name="connsiteX0" fmla="*/ 786581 w 1101212"/>
                  <a:gd name="connsiteY0" fmla="*/ 235974 h 629264"/>
                  <a:gd name="connsiteX1" fmla="*/ 865239 w 1101212"/>
                  <a:gd name="connsiteY1" fmla="*/ 157316 h 629264"/>
                  <a:gd name="connsiteX2" fmla="*/ 943897 w 1101212"/>
                  <a:gd name="connsiteY2" fmla="*/ 235974 h 629264"/>
                  <a:gd name="connsiteX3" fmla="*/ 707923 w 1101212"/>
                  <a:gd name="connsiteY3" fmla="*/ 471948 h 629264"/>
                  <a:gd name="connsiteX4" fmla="*/ 0 w 1101212"/>
                  <a:gd name="connsiteY4" fmla="*/ 471948 h 629264"/>
                  <a:gd name="connsiteX5" fmla="*/ 0 w 1101212"/>
                  <a:gd name="connsiteY5" fmla="*/ 629265 h 629264"/>
                  <a:gd name="connsiteX6" fmla="*/ 707923 w 1101212"/>
                  <a:gd name="connsiteY6" fmla="*/ 629265 h 629264"/>
                  <a:gd name="connsiteX7" fmla="*/ 1101213 w 1101212"/>
                  <a:gd name="connsiteY7" fmla="*/ 235974 h 629264"/>
                  <a:gd name="connsiteX8" fmla="*/ 865239 w 1101212"/>
                  <a:gd name="connsiteY8" fmla="*/ 0 h 629264"/>
                  <a:gd name="connsiteX9" fmla="*/ 629265 w 1101212"/>
                  <a:gd name="connsiteY9" fmla="*/ 235974 h 629264"/>
                  <a:gd name="connsiteX10" fmla="*/ 629265 w 1101212"/>
                  <a:gd name="connsiteY10" fmla="*/ 314632 h 629264"/>
                  <a:gd name="connsiteX11" fmla="*/ 786581 w 1101212"/>
                  <a:gd name="connsiteY11" fmla="*/ 314632 h 6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1212" h="629264">
                    <a:moveTo>
                      <a:pt x="786581" y="235974"/>
                    </a:moveTo>
                    <a:cubicBezTo>
                      <a:pt x="786581" y="192634"/>
                      <a:pt x="821898" y="157316"/>
                      <a:pt x="865239" y="157316"/>
                    </a:cubicBezTo>
                    <a:cubicBezTo>
                      <a:pt x="908579" y="157316"/>
                      <a:pt x="943897" y="192634"/>
                      <a:pt x="943897" y="235974"/>
                    </a:cubicBezTo>
                    <a:cubicBezTo>
                      <a:pt x="943897" y="366075"/>
                      <a:pt x="838023" y="471948"/>
                      <a:pt x="707923" y="471948"/>
                    </a:cubicBezTo>
                    <a:lnTo>
                      <a:pt x="0" y="471948"/>
                    </a:lnTo>
                    <a:lnTo>
                      <a:pt x="0" y="629265"/>
                    </a:lnTo>
                    <a:lnTo>
                      <a:pt x="707923" y="629265"/>
                    </a:lnTo>
                    <a:cubicBezTo>
                      <a:pt x="924783" y="629265"/>
                      <a:pt x="1101213" y="452834"/>
                      <a:pt x="1101213" y="235974"/>
                    </a:cubicBezTo>
                    <a:cubicBezTo>
                      <a:pt x="1101213" y="105874"/>
                      <a:pt x="995339" y="0"/>
                      <a:pt x="865239" y="0"/>
                    </a:cubicBezTo>
                    <a:cubicBezTo>
                      <a:pt x="735138" y="0"/>
                      <a:pt x="629265" y="105874"/>
                      <a:pt x="629265" y="235974"/>
                    </a:cubicBezTo>
                    <a:lnTo>
                      <a:pt x="629265" y="314632"/>
                    </a:lnTo>
                    <a:lnTo>
                      <a:pt x="786581" y="314632"/>
                    </a:lnTo>
                    <a:close/>
                  </a:path>
                </a:pathLst>
              </a:custGeom>
              <a:solidFill>
                <a:srgbClr val="00B0F0">
                  <a:alpha val="20000"/>
                </a:srgbClr>
              </a:solidFill>
              <a:ln w="78658" cap="flat">
                <a:noFill/>
                <a:prstDash val="solid"/>
                <a:miter/>
              </a:ln>
            </p:spPr>
            <p:txBody>
              <a:bodyPr rtlCol="0" anchor="ctr"/>
              <a:lstStyle/>
              <a:p>
                <a:endParaRPr lang="uk-UA"/>
              </a:p>
            </p:txBody>
          </p:sp>
          <p:sp>
            <p:nvSpPr>
              <p:cNvPr id="138" name="Полілінія: фігура 137">
                <a:extLst>
                  <a:ext uri="{FF2B5EF4-FFF2-40B4-BE49-F238E27FC236}">
                    <a16:creationId xmlns:a16="http://schemas.microsoft.com/office/drawing/2014/main" id="{846BCF56-13CC-46B4-A0A4-98D858785005}"/>
                  </a:ext>
                </a:extLst>
              </p:cNvPr>
              <p:cNvSpPr/>
              <p:nvPr/>
            </p:nvSpPr>
            <p:spPr>
              <a:xfrm>
                <a:off x="14502170" y="3194275"/>
                <a:ext cx="629264" cy="157316"/>
              </a:xfrm>
              <a:custGeom>
                <a:avLst/>
                <a:gdLst>
                  <a:gd name="connsiteX0" fmla="*/ 0 w 629264"/>
                  <a:gd name="connsiteY0" fmla="*/ 0 h 157316"/>
                  <a:gd name="connsiteX1" fmla="*/ 629265 w 629264"/>
                  <a:gd name="connsiteY1" fmla="*/ 0 h 157316"/>
                  <a:gd name="connsiteX2" fmla="*/ 629265 w 629264"/>
                  <a:gd name="connsiteY2" fmla="*/ 157316 h 157316"/>
                  <a:gd name="connsiteX3" fmla="*/ 0 w 629264"/>
                  <a:gd name="connsiteY3" fmla="*/ 157316 h 157316"/>
                </a:gdLst>
                <a:ahLst/>
                <a:cxnLst>
                  <a:cxn ang="0">
                    <a:pos x="connsiteX0" y="connsiteY0"/>
                  </a:cxn>
                  <a:cxn ang="0">
                    <a:pos x="connsiteX1" y="connsiteY1"/>
                  </a:cxn>
                  <a:cxn ang="0">
                    <a:pos x="connsiteX2" y="connsiteY2"/>
                  </a:cxn>
                  <a:cxn ang="0">
                    <a:pos x="connsiteX3" y="connsiteY3"/>
                  </a:cxn>
                </a:cxnLst>
                <a:rect l="l" t="t" r="r" b="b"/>
                <a:pathLst>
                  <a:path w="629264" h="157316">
                    <a:moveTo>
                      <a:pt x="0" y="0"/>
                    </a:moveTo>
                    <a:lnTo>
                      <a:pt x="629265" y="0"/>
                    </a:lnTo>
                    <a:lnTo>
                      <a:pt x="629265" y="157316"/>
                    </a:lnTo>
                    <a:lnTo>
                      <a:pt x="0" y="157316"/>
                    </a:lnTo>
                    <a:close/>
                  </a:path>
                </a:pathLst>
              </a:custGeom>
              <a:solidFill>
                <a:srgbClr val="00B0F0">
                  <a:alpha val="20000"/>
                </a:srgbClr>
              </a:solidFill>
              <a:ln w="78658" cap="flat">
                <a:noFill/>
                <a:prstDash val="solid"/>
                <a:miter/>
              </a:ln>
            </p:spPr>
            <p:txBody>
              <a:bodyPr rtlCol="0" anchor="ctr"/>
              <a:lstStyle/>
              <a:p>
                <a:endParaRPr lang="uk-UA"/>
              </a:p>
            </p:txBody>
          </p:sp>
        </p:grpSp>
      </p:grpSp>
      <p:sp>
        <p:nvSpPr>
          <p:cNvPr id="2" name="Овал 1">
            <a:extLst>
              <a:ext uri="{FF2B5EF4-FFF2-40B4-BE49-F238E27FC236}">
                <a16:creationId xmlns:a16="http://schemas.microsoft.com/office/drawing/2014/main" id="{0DBB01EB-7A88-32CA-475C-A3B2CD31FA34}"/>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98498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50000" decel="50000" fill="hold" nodeType="withEffect">
                                  <p:stCondLst>
                                    <p:cond delay="0"/>
                                  </p:stCondLst>
                                  <p:childTnLst>
                                    <p:animMotion origin="layout" path="M -1.66667E-6 -7.40741E-7 L 1.62448 -0.0125 " pathEditMode="relative" rAng="0" ptsTypes="AA">
                                      <p:cBhvr>
                                        <p:cTn id="6" dur="3000" fill="hold"/>
                                        <p:tgtEl>
                                          <p:spTgt spid="128"/>
                                        </p:tgtEl>
                                        <p:attrNameLst>
                                          <p:attrName>ppt_x</p:attrName>
                                          <p:attrName>ppt_y</p:attrName>
                                        </p:attrNameLst>
                                      </p:cBhvr>
                                      <p:rCtr x="81224" y="-625"/>
                                    </p:animMotion>
                                  </p:childTnLst>
                                </p:cTn>
                              </p:par>
                              <p:par>
                                <p:cTn id="7" presetID="35" presetClass="path" presetSubtype="0" repeatCount="indefinite" accel="50000" decel="50000" fill="hold" nodeType="withEffect">
                                  <p:stCondLst>
                                    <p:cond delay="0"/>
                                  </p:stCondLst>
                                  <p:childTnLst>
                                    <p:animMotion origin="layout" path="M 1.66667E-6 -1.48148E-6 L -1.61042 -0.00417 " pathEditMode="relative" rAng="0" ptsTypes="AA">
                                      <p:cBhvr>
                                        <p:cTn id="8" dur="3000" fill="hold"/>
                                        <p:tgtEl>
                                          <p:spTgt spid="4"/>
                                        </p:tgtEl>
                                        <p:attrNameLst>
                                          <p:attrName>ppt_x</p:attrName>
                                          <p:attrName>ppt_y</p:attrName>
                                        </p:attrNameLst>
                                      </p:cBhvr>
                                      <p:rCtr x="-80521" y="-2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Об'єкт 25" hidden="1">
            <a:extLst>
              <a:ext uri="{FF2B5EF4-FFF2-40B4-BE49-F238E27FC236}">
                <a16:creationId xmlns:a16="http://schemas.microsoft.com/office/drawing/2014/main" id="{7FB29B9B-E137-4262-9A2D-845437BD86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6" name="Об'єкт 25" hidden="1">
                        <a:extLst>
                          <a:ext uri="{FF2B5EF4-FFF2-40B4-BE49-F238E27FC236}">
                            <a16:creationId xmlns:a16="http://schemas.microsoft.com/office/drawing/2014/main" id="{7FB29B9B-E137-4262-9A2D-845437BD8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Рисунок 7">
            <a:extLst>
              <a:ext uri="{FF2B5EF4-FFF2-40B4-BE49-F238E27FC236}">
                <a16:creationId xmlns:a16="http://schemas.microsoft.com/office/drawing/2014/main" id="{07294C98-AA95-A619-2AFD-FA1FB7B8CA62}"/>
              </a:ext>
            </a:extLst>
          </p:cNvPr>
          <p:cNvPicPr>
            <a:picLocks noChangeAspect="1"/>
          </p:cNvPicPr>
          <p:nvPr/>
        </p:nvPicPr>
        <p:blipFill>
          <a:blip r:embed="rId5"/>
          <a:stretch>
            <a:fillRect/>
          </a:stretch>
        </p:blipFill>
        <p:spPr>
          <a:xfrm>
            <a:off x="1776000" y="999986"/>
            <a:ext cx="8640000" cy="4858029"/>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0" name="Прямокутник 29">
            <a:extLst>
              <a:ext uri="{FF2B5EF4-FFF2-40B4-BE49-F238E27FC236}">
                <a16:creationId xmlns:a16="http://schemas.microsoft.com/office/drawing/2014/main" id="{38FC23DE-8CDA-4558-80D1-E74C1F71B7E7}"/>
              </a:ext>
            </a:extLst>
          </p:cNvPr>
          <p:cNvSpPr/>
          <p:nvPr/>
        </p:nvSpPr>
        <p:spPr>
          <a:xfrm>
            <a:off x="3842535" y="6222971"/>
            <a:ext cx="4506930"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тут повітря менше, але воно є </a:t>
            </a:r>
            <a:endParaRPr lang="en-US" sz="1600" dirty="0">
              <a:solidFill>
                <a:schemeClr val="tx1"/>
              </a:solidFill>
              <a:latin typeface="+mj-lt"/>
            </a:endParaRPr>
          </a:p>
        </p:txBody>
      </p:sp>
      <p:pic>
        <p:nvPicPr>
          <p:cNvPr id="97" name="Picture 6" descr="Index Pointing Up on Apple iOS 14.2">
            <a:extLst>
              <a:ext uri="{FF2B5EF4-FFF2-40B4-BE49-F238E27FC236}">
                <a16:creationId xmlns:a16="http://schemas.microsoft.com/office/drawing/2014/main" id="{A0ACF027-E9D9-4260-8D2B-A5AF61D54A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3820" y="5555392"/>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 descr="Index Pointing Up on Apple iOS 14.2">
            <a:extLst>
              <a:ext uri="{FF2B5EF4-FFF2-40B4-BE49-F238E27FC236}">
                <a16:creationId xmlns:a16="http://schemas.microsoft.com/office/drawing/2014/main" id="{3015BCD6-C27A-450A-9141-21F2AA80CA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220" y="5555392"/>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Index Pointing Up on Apple iOS 14.2">
            <a:extLst>
              <a:ext uri="{FF2B5EF4-FFF2-40B4-BE49-F238E27FC236}">
                <a16:creationId xmlns:a16="http://schemas.microsoft.com/office/drawing/2014/main" id="{0943C138-07F8-4EE4-BB5A-0E9CD944D5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58683" y="5555392"/>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 name="Овал 1">
            <a:extLst>
              <a:ext uri="{FF2B5EF4-FFF2-40B4-BE49-F238E27FC236}">
                <a16:creationId xmlns:a16="http://schemas.microsoft.com/office/drawing/2014/main" id="{3A613219-B86B-FFC4-C220-B12A04073D39}"/>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7850244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CF2BB424-F0DA-61D3-FABA-A7B73AAE46CF}"/>
              </a:ext>
            </a:extLst>
          </p:cNvPr>
          <p:cNvSpPr>
            <a:spLocks noGrp="1"/>
          </p:cNvSpPr>
          <p:nvPr>
            <p:ph type="body" sz="quarter" idx="10"/>
          </p:nvPr>
        </p:nvSpPr>
        <p:spPr/>
        <p:txBody>
          <a:bodyPr/>
          <a:lstStyle/>
          <a:p>
            <a:r>
              <a:rPr lang="ru-RU" dirty="0" err="1">
                <a:solidFill>
                  <a:schemeClr val="accent1"/>
                </a:solidFill>
              </a:rPr>
              <a:t>Елементи</a:t>
            </a:r>
            <a:r>
              <a:rPr lang="ru-RU" dirty="0">
                <a:solidFill>
                  <a:schemeClr val="accent1"/>
                </a:solidFill>
              </a:rPr>
              <a:t>, </a:t>
            </a:r>
            <a:r>
              <a:rPr lang="ru-RU" dirty="0" err="1">
                <a:solidFill>
                  <a:schemeClr val="accent1"/>
                </a:solidFill>
              </a:rPr>
              <a:t>які</a:t>
            </a:r>
            <a:r>
              <a:rPr lang="ru-RU" dirty="0">
                <a:solidFill>
                  <a:schemeClr val="accent1"/>
                </a:solidFill>
              </a:rPr>
              <a:t> </a:t>
            </a:r>
            <a:r>
              <a:rPr lang="ru-RU" dirty="0" err="1">
                <a:solidFill>
                  <a:schemeClr val="accent1"/>
                </a:solidFill>
              </a:rPr>
              <a:t>близькі</a:t>
            </a:r>
            <a:r>
              <a:rPr lang="ru-RU" dirty="0">
                <a:solidFill>
                  <a:schemeClr val="accent1"/>
                </a:solidFill>
              </a:rPr>
              <a:t> за </a:t>
            </a:r>
            <a:r>
              <a:rPr lang="ru-RU" dirty="0" err="1">
                <a:solidFill>
                  <a:schemeClr val="accent1"/>
                </a:solidFill>
              </a:rPr>
              <a:t>змістом</a:t>
            </a:r>
            <a:r>
              <a:rPr lang="ru-RU" dirty="0">
                <a:solidFill>
                  <a:schemeClr val="accent1"/>
                </a:solidFill>
              </a:rPr>
              <a:t>, </a:t>
            </a:r>
            <a:r>
              <a:rPr lang="ru-RU" dirty="0" err="1">
                <a:solidFill>
                  <a:schemeClr val="accent1"/>
                </a:solidFill>
              </a:rPr>
              <a:t>повинні</a:t>
            </a:r>
            <a:r>
              <a:rPr lang="ru-RU" dirty="0">
                <a:solidFill>
                  <a:schemeClr val="accent1"/>
                </a:solidFill>
              </a:rPr>
              <a:t> </a:t>
            </a:r>
            <a:r>
              <a:rPr lang="ru-RU" dirty="0" err="1">
                <a:solidFill>
                  <a:schemeClr val="accent1"/>
                </a:solidFill>
              </a:rPr>
              <a:t>знаходитися</a:t>
            </a:r>
            <a:r>
              <a:rPr lang="ru-RU" dirty="0">
                <a:solidFill>
                  <a:schemeClr val="accent1"/>
                </a:solidFill>
              </a:rPr>
              <a:t> </a:t>
            </a:r>
            <a:r>
              <a:rPr lang="ru-RU" dirty="0" err="1">
                <a:solidFill>
                  <a:schemeClr val="accent5"/>
                </a:solidFill>
              </a:rPr>
              <a:t>поруч</a:t>
            </a:r>
            <a:r>
              <a:rPr lang="ru-RU" dirty="0">
                <a:solidFill>
                  <a:schemeClr val="accent5"/>
                </a:solidFill>
              </a:rPr>
              <a:t> на </a:t>
            </a:r>
            <a:r>
              <a:rPr lang="ru-RU" dirty="0" err="1">
                <a:solidFill>
                  <a:schemeClr val="accent5"/>
                </a:solidFill>
              </a:rPr>
              <a:t>слайді</a:t>
            </a:r>
            <a:endParaRPr lang="ru-UA" dirty="0">
              <a:solidFill>
                <a:schemeClr val="accent5"/>
              </a:solidFill>
            </a:endParaRPr>
          </a:p>
        </p:txBody>
      </p:sp>
      <p:sp>
        <p:nvSpPr>
          <p:cNvPr id="4" name="Прямокутник 51">
            <a:extLst>
              <a:ext uri="{FF2B5EF4-FFF2-40B4-BE49-F238E27FC236}">
                <a16:creationId xmlns:a16="http://schemas.microsoft.com/office/drawing/2014/main" id="{75049A83-B8FD-80A2-6C83-3104E1E3020F}"/>
              </a:ext>
            </a:extLst>
          </p:cNvPr>
          <p:cNvSpPr/>
          <p:nvPr/>
        </p:nvSpPr>
        <p:spPr>
          <a:xfrm>
            <a:off x="814388" y="2133600"/>
            <a:ext cx="3600000" cy="4095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uk-UA" dirty="0">
                <a:solidFill>
                  <a:schemeClr val="tx1"/>
                </a:solidFill>
                <a:latin typeface="+mj-lt"/>
              </a:rPr>
              <a:t>Не </a:t>
            </a:r>
            <a:r>
              <a:rPr lang="uk-UA" dirty="0" err="1">
                <a:solidFill>
                  <a:schemeClr val="tx1"/>
                </a:solidFill>
                <a:latin typeface="+mj-lt"/>
              </a:rPr>
              <a:t>ок</a:t>
            </a:r>
            <a:endParaRPr lang="en-US" dirty="0">
              <a:solidFill>
                <a:schemeClr val="tx1"/>
              </a:solidFill>
              <a:latin typeface="+mj-lt"/>
            </a:endParaRPr>
          </a:p>
        </p:txBody>
      </p:sp>
      <p:sp>
        <p:nvSpPr>
          <p:cNvPr id="12" name="Прямокутник 52">
            <a:extLst>
              <a:ext uri="{FF2B5EF4-FFF2-40B4-BE49-F238E27FC236}">
                <a16:creationId xmlns:a16="http://schemas.microsoft.com/office/drawing/2014/main" id="{3462E3F2-3BBA-53D9-3A13-B61E08E91785}"/>
              </a:ext>
            </a:extLst>
          </p:cNvPr>
          <p:cNvSpPr/>
          <p:nvPr/>
        </p:nvSpPr>
        <p:spPr>
          <a:xfrm>
            <a:off x="5074386" y="2133600"/>
            <a:ext cx="3600000" cy="40951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uk-UA" dirty="0">
                <a:solidFill>
                  <a:schemeClr val="tx1"/>
                </a:solidFill>
                <a:latin typeface="+mj-lt"/>
              </a:rPr>
              <a:t>Максимально </a:t>
            </a:r>
            <a:r>
              <a:rPr lang="uk-UA" dirty="0" err="1">
                <a:solidFill>
                  <a:schemeClr val="tx1"/>
                </a:solidFill>
                <a:latin typeface="+mj-lt"/>
              </a:rPr>
              <a:t>ок</a:t>
            </a:r>
            <a:endParaRPr lang="en-US" dirty="0">
              <a:solidFill>
                <a:schemeClr val="tx1"/>
              </a:solidFill>
              <a:latin typeface="+mj-lt"/>
            </a:endParaRPr>
          </a:p>
        </p:txBody>
      </p:sp>
      <p:grpSp>
        <p:nvGrpSpPr>
          <p:cNvPr id="11" name="Групувати 5">
            <a:extLst>
              <a:ext uri="{FF2B5EF4-FFF2-40B4-BE49-F238E27FC236}">
                <a16:creationId xmlns:a16="http://schemas.microsoft.com/office/drawing/2014/main" id="{EADDE2F0-9B65-D4B5-0AE7-302880896535}"/>
              </a:ext>
            </a:extLst>
          </p:cNvPr>
          <p:cNvGrpSpPr/>
          <p:nvPr/>
        </p:nvGrpSpPr>
        <p:grpSpPr>
          <a:xfrm>
            <a:off x="1196849" y="3032488"/>
            <a:ext cx="2565118" cy="360000"/>
            <a:chOff x="1508576" y="3156778"/>
            <a:chExt cx="2565118" cy="360000"/>
          </a:xfrm>
        </p:grpSpPr>
        <p:sp>
          <p:nvSpPr>
            <p:cNvPr id="13" name="Прямокутник 25">
              <a:extLst>
                <a:ext uri="{FF2B5EF4-FFF2-40B4-BE49-F238E27FC236}">
                  <a16:creationId xmlns:a16="http://schemas.microsoft.com/office/drawing/2014/main" id="{8CA97CA7-BDFF-0BA4-E0F6-C58389541090}"/>
                </a:ext>
              </a:extLst>
            </p:cNvPr>
            <p:cNvSpPr/>
            <p:nvPr/>
          </p:nvSpPr>
          <p:spPr>
            <a:xfrm>
              <a:off x="2273694" y="3156778"/>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Група</a:t>
              </a:r>
              <a:r>
                <a:rPr lang="ru-RU" sz="1800" dirty="0">
                  <a:solidFill>
                    <a:schemeClr val="tx1"/>
                  </a:solidFill>
                  <a:ea typeface="Roboto Black" panose="02000000000000000000" pitchFamily="2" charset="0"/>
                </a:rPr>
                <a:t> 1: пункт 1</a:t>
              </a:r>
            </a:p>
          </p:txBody>
        </p:sp>
        <p:sp>
          <p:nvSpPr>
            <p:cNvPr id="15" name="Прямокутник: округлені кути 26">
              <a:extLst>
                <a:ext uri="{FF2B5EF4-FFF2-40B4-BE49-F238E27FC236}">
                  <a16:creationId xmlns:a16="http://schemas.microsoft.com/office/drawing/2014/main" id="{740514FE-972E-54C7-730C-B90E4E2693DE}"/>
                </a:ext>
              </a:extLst>
            </p:cNvPr>
            <p:cNvSpPr/>
            <p:nvPr/>
          </p:nvSpPr>
          <p:spPr>
            <a:xfrm>
              <a:off x="1508576" y="3156778"/>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grpSp>
      <p:grpSp>
        <p:nvGrpSpPr>
          <p:cNvPr id="16" name="Групувати 3">
            <a:extLst>
              <a:ext uri="{FF2B5EF4-FFF2-40B4-BE49-F238E27FC236}">
                <a16:creationId xmlns:a16="http://schemas.microsoft.com/office/drawing/2014/main" id="{25F9BC16-538B-464F-1729-D06EE20189A3}"/>
              </a:ext>
            </a:extLst>
          </p:cNvPr>
          <p:cNvGrpSpPr/>
          <p:nvPr/>
        </p:nvGrpSpPr>
        <p:grpSpPr>
          <a:xfrm>
            <a:off x="1196849" y="3552930"/>
            <a:ext cx="2565118" cy="360000"/>
            <a:chOff x="1508576" y="4027639"/>
            <a:chExt cx="2565118" cy="360000"/>
          </a:xfrm>
        </p:grpSpPr>
        <p:sp>
          <p:nvSpPr>
            <p:cNvPr id="17" name="Прямокутник: округлені кути 28">
              <a:extLst>
                <a:ext uri="{FF2B5EF4-FFF2-40B4-BE49-F238E27FC236}">
                  <a16:creationId xmlns:a16="http://schemas.microsoft.com/office/drawing/2014/main" id="{90D2CC3D-BC14-9A54-F097-ABA945FA219D}"/>
                </a:ext>
              </a:extLst>
            </p:cNvPr>
            <p:cNvSpPr/>
            <p:nvPr/>
          </p:nvSpPr>
          <p:spPr>
            <a:xfrm>
              <a:off x="1508576" y="4027639"/>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18" name="Прямокутник 30">
              <a:extLst>
                <a:ext uri="{FF2B5EF4-FFF2-40B4-BE49-F238E27FC236}">
                  <a16:creationId xmlns:a16="http://schemas.microsoft.com/office/drawing/2014/main" id="{84C49291-5853-6D19-E35C-BADF5C8E6A43}"/>
                </a:ext>
              </a:extLst>
            </p:cNvPr>
            <p:cNvSpPr/>
            <p:nvPr/>
          </p:nvSpPr>
          <p:spPr>
            <a:xfrm>
              <a:off x="2273694" y="4027639"/>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Група</a:t>
              </a:r>
              <a:r>
                <a:rPr lang="ru-RU" sz="1800" dirty="0">
                  <a:solidFill>
                    <a:schemeClr val="tx1"/>
                  </a:solidFill>
                  <a:ea typeface="Roboto Black" panose="02000000000000000000" pitchFamily="2" charset="0"/>
                </a:rPr>
                <a:t> 1: пункт 2</a:t>
              </a:r>
            </a:p>
          </p:txBody>
        </p:sp>
      </p:grpSp>
      <p:grpSp>
        <p:nvGrpSpPr>
          <p:cNvPr id="19" name="Групувати 2">
            <a:extLst>
              <a:ext uri="{FF2B5EF4-FFF2-40B4-BE49-F238E27FC236}">
                <a16:creationId xmlns:a16="http://schemas.microsoft.com/office/drawing/2014/main" id="{85CFCBDA-DB1E-20AC-DE08-8407BF94F06C}"/>
              </a:ext>
            </a:extLst>
          </p:cNvPr>
          <p:cNvGrpSpPr/>
          <p:nvPr/>
        </p:nvGrpSpPr>
        <p:grpSpPr>
          <a:xfrm>
            <a:off x="1196849" y="4073372"/>
            <a:ext cx="2565119" cy="360000"/>
            <a:chOff x="1508576" y="4898500"/>
            <a:chExt cx="2565119" cy="360000"/>
          </a:xfrm>
        </p:grpSpPr>
        <p:sp>
          <p:nvSpPr>
            <p:cNvPr id="20" name="Прямокутник: округлені кути 29">
              <a:extLst>
                <a:ext uri="{FF2B5EF4-FFF2-40B4-BE49-F238E27FC236}">
                  <a16:creationId xmlns:a16="http://schemas.microsoft.com/office/drawing/2014/main" id="{A42D9833-72A6-183D-6A04-3EC54F161D3A}"/>
                </a:ext>
              </a:extLst>
            </p:cNvPr>
            <p:cNvSpPr/>
            <p:nvPr/>
          </p:nvSpPr>
          <p:spPr>
            <a:xfrm>
              <a:off x="1508576" y="4898500"/>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21" name="Прямокутник 31">
              <a:extLst>
                <a:ext uri="{FF2B5EF4-FFF2-40B4-BE49-F238E27FC236}">
                  <a16:creationId xmlns:a16="http://schemas.microsoft.com/office/drawing/2014/main" id="{5DE041FE-6E0F-5D92-633C-F8AE09B7BB7E}"/>
                </a:ext>
              </a:extLst>
            </p:cNvPr>
            <p:cNvSpPr/>
            <p:nvPr/>
          </p:nvSpPr>
          <p:spPr>
            <a:xfrm>
              <a:off x="2273695" y="489850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Група</a:t>
              </a:r>
              <a:r>
                <a:rPr lang="ru-RU" sz="1800" dirty="0">
                  <a:solidFill>
                    <a:schemeClr val="tx1"/>
                  </a:solidFill>
                  <a:ea typeface="Roboto Black" panose="02000000000000000000" pitchFamily="2" charset="0"/>
                </a:rPr>
                <a:t> 2: пункт 1</a:t>
              </a:r>
            </a:p>
          </p:txBody>
        </p:sp>
      </p:grpSp>
      <p:grpSp>
        <p:nvGrpSpPr>
          <p:cNvPr id="22" name="Групувати 33">
            <a:extLst>
              <a:ext uri="{FF2B5EF4-FFF2-40B4-BE49-F238E27FC236}">
                <a16:creationId xmlns:a16="http://schemas.microsoft.com/office/drawing/2014/main" id="{8A8AE60D-5BD8-CA9A-3E64-448985AF594B}"/>
              </a:ext>
            </a:extLst>
          </p:cNvPr>
          <p:cNvGrpSpPr/>
          <p:nvPr/>
        </p:nvGrpSpPr>
        <p:grpSpPr>
          <a:xfrm>
            <a:off x="1196849" y="4593814"/>
            <a:ext cx="2565119" cy="360000"/>
            <a:chOff x="1508576" y="4898500"/>
            <a:chExt cx="2565119" cy="360000"/>
          </a:xfrm>
        </p:grpSpPr>
        <p:sp>
          <p:nvSpPr>
            <p:cNvPr id="23" name="Прямокутник: округлені кути 34">
              <a:extLst>
                <a:ext uri="{FF2B5EF4-FFF2-40B4-BE49-F238E27FC236}">
                  <a16:creationId xmlns:a16="http://schemas.microsoft.com/office/drawing/2014/main" id="{160DD564-02ED-8452-D5D7-BB5BC108B993}"/>
                </a:ext>
              </a:extLst>
            </p:cNvPr>
            <p:cNvSpPr/>
            <p:nvPr/>
          </p:nvSpPr>
          <p:spPr>
            <a:xfrm>
              <a:off x="1508576" y="4898500"/>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4</a:t>
              </a:r>
            </a:p>
          </p:txBody>
        </p:sp>
        <p:sp>
          <p:nvSpPr>
            <p:cNvPr id="24" name="Прямокутник 35">
              <a:extLst>
                <a:ext uri="{FF2B5EF4-FFF2-40B4-BE49-F238E27FC236}">
                  <a16:creationId xmlns:a16="http://schemas.microsoft.com/office/drawing/2014/main" id="{450943A6-EB0F-CB16-00CD-1A7B50B33B9E}"/>
                </a:ext>
              </a:extLst>
            </p:cNvPr>
            <p:cNvSpPr/>
            <p:nvPr/>
          </p:nvSpPr>
          <p:spPr>
            <a:xfrm>
              <a:off x="2273695" y="489850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Група</a:t>
              </a:r>
              <a:r>
                <a:rPr lang="ru-RU" sz="1800" dirty="0">
                  <a:solidFill>
                    <a:schemeClr val="tx1"/>
                  </a:solidFill>
                  <a:ea typeface="Roboto Black" panose="02000000000000000000" pitchFamily="2" charset="0"/>
                </a:rPr>
                <a:t> 2: пункт 2</a:t>
              </a:r>
            </a:p>
          </p:txBody>
        </p:sp>
      </p:grpSp>
      <p:grpSp>
        <p:nvGrpSpPr>
          <p:cNvPr id="25" name="Групувати 36">
            <a:extLst>
              <a:ext uri="{FF2B5EF4-FFF2-40B4-BE49-F238E27FC236}">
                <a16:creationId xmlns:a16="http://schemas.microsoft.com/office/drawing/2014/main" id="{38942B1C-E3AE-B0E9-A17F-DF9959D5E320}"/>
              </a:ext>
            </a:extLst>
          </p:cNvPr>
          <p:cNvGrpSpPr/>
          <p:nvPr/>
        </p:nvGrpSpPr>
        <p:grpSpPr>
          <a:xfrm>
            <a:off x="1196849" y="5114256"/>
            <a:ext cx="2565119" cy="360000"/>
            <a:chOff x="1508576" y="4898500"/>
            <a:chExt cx="2565119" cy="360000"/>
          </a:xfrm>
        </p:grpSpPr>
        <p:sp>
          <p:nvSpPr>
            <p:cNvPr id="26" name="Прямокутник: округлені кути 37">
              <a:extLst>
                <a:ext uri="{FF2B5EF4-FFF2-40B4-BE49-F238E27FC236}">
                  <a16:creationId xmlns:a16="http://schemas.microsoft.com/office/drawing/2014/main" id="{8B71477B-4069-A7D1-58CB-E9ED8097E71C}"/>
                </a:ext>
              </a:extLst>
            </p:cNvPr>
            <p:cNvSpPr/>
            <p:nvPr/>
          </p:nvSpPr>
          <p:spPr>
            <a:xfrm>
              <a:off x="1508576" y="4898500"/>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5</a:t>
              </a:r>
            </a:p>
          </p:txBody>
        </p:sp>
        <p:sp>
          <p:nvSpPr>
            <p:cNvPr id="27" name="Прямокутник 38">
              <a:extLst>
                <a:ext uri="{FF2B5EF4-FFF2-40B4-BE49-F238E27FC236}">
                  <a16:creationId xmlns:a16="http://schemas.microsoft.com/office/drawing/2014/main" id="{DB9F73BD-86BA-86D7-A0E8-29FA4E0CF4B8}"/>
                </a:ext>
              </a:extLst>
            </p:cNvPr>
            <p:cNvSpPr/>
            <p:nvPr/>
          </p:nvSpPr>
          <p:spPr>
            <a:xfrm>
              <a:off x="2273695" y="4898500"/>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Група</a:t>
              </a:r>
              <a:r>
                <a:rPr lang="ru-RU" sz="1800" dirty="0">
                  <a:solidFill>
                    <a:schemeClr val="tx1"/>
                  </a:solidFill>
                  <a:ea typeface="Roboto Black" panose="02000000000000000000" pitchFamily="2" charset="0"/>
                </a:rPr>
                <a:t> 2: пункт 3</a:t>
              </a:r>
            </a:p>
          </p:txBody>
        </p:sp>
      </p:grpSp>
      <p:grpSp>
        <p:nvGrpSpPr>
          <p:cNvPr id="28" name="Групувати 39">
            <a:extLst>
              <a:ext uri="{FF2B5EF4-FFF2-40B4-BE49-F238E27FC236}">
                <a16:creationId xmlns:a16="http://schemas.microsoft.com/office/drawing/2014/main" id="{72D10D61-EAF0-4693-CE52-370E32E8F85B}"/>
              </a:ext>
            </a:extLst>
          </p:cNvPr>
          <p:cNvGrpSpPr/>
          <p:nvPr/>
        </p:nvGrpSpPr>
        <p:grpSpPr>
          <a:xfrm>
            <a:off x="5340300" y="2504697"/>
            <a:ext cx="3628624" cy="799612"/>
            <a:chOff x="1508575" y="2717166"/>
            <a:chExt cx="3628624" cy="799612"/>
          </a:xfrm>
        </p:grpSpPr>
        <p:sp>
          <p:nvSpPr>
            <p:cNvPr id="29" name="Прямокутник 40">
              <a:extLst>
                <a:ext uri="{FF2B5EF4-FFF2-40B4-BE49-F238E27FC236}">
                  <a16:creationId xmlns:a16="http://schemas.microsoft.com/office/drawing/2014/main" id="{2DC2199C-EEDC-4944-112D-C62DB5801906}"/>
                </a:ext>
              </a:extLst>
            </p:cNvPr>
            <p:cNvSpPr/>
            <p:nvPr/>
          </p:nvSpPr>
          <p:spPr>
            <a:xfrm>
              <a:off x="2273694" y="3156778"/>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Пункт 1</a:t>
              </a:r>
            </a:p>
          </p:txBody>
        </p:sp>
        <p:sp>
          <p:nvSpPr>
            <p:cNvPr id="30" name="Прямокутник: округлені кути 41">
              <a:extLst>
                <a:ext uri="{FF2B5EF4-FFF2-40B4-BE49-F238E27FC236}">
                  <a16:creationId xmlns:a16="http://schemas.microsoft.com/office/drawing/2014/main" id="{F62C22AC-18EC-A661-1662-58FBB37A5136}"/>
                </a:ext>
              </a:extLst>
            </p:cNvPr>
            <p:cNvSpPr/>
            <p:nvPr/>
          </p:nvSpPr>
          <p:spPr>
            <a:xfrm>
              <a:off x="1508576" y="3156778"/>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31" name="Прямокутник 55">
              <a:extLst>
                <a:ext uri="{FF2B5EF4-FFF2-40B4-BE49-F238E27FC236}">
                  <a16:creationId xmlns:a16="http://schemas.microsoft.com/office/drawing/2014/main" id="{D4D79ED2-ECD6-DCBD-8BAD-601B76B7EF46}"/>
                </a:ext>
              </a:extLst>
            </p:cNvPr>
            <p:cNvSpPr/>
            <p:nvPr/>
          </p:nvSpPr>
          <p:spPr>
            <a:xfrm>
              <a:off x="1508575" y="2717166"/>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b="1" dirty="0">
                  <a:solidFill>
                    <a:schemeClr val="tx1"/>
                  </a:solidFill>
                  <a:ea typeface="Roboto Black" panose="02000000000000000000" pitchFamily="2" charset="0"/>
                </a:rPr>
                <a:t>ГРУПА 1</a:t>
              </a:r>
            </a:p>
          </p:txBody>
        </p:sp>
      </p:grpSp>
      <p:grpSp>
        <p:nvGrpSpPr>
          <p:cNvPr id="32" name="Групувати 42">
            <a:extLst>
              <a:ext uri="{FF2B5EF4-FFF2-40B4-BE49-F238E27FC236}">
                <a16:creationId xmlns:a16="http://schemas.microsoft.com/office/drawing/2014/main" id="{EB506822-3645-8718-2E94-77E582D5A0AB}"/>
              </a:ext>
            </a:extLst>
          </p:cNvPr>
          <p:cNvGrpSpPr/>
          <p:nvPr/>
        </p:nvGrpSpPr>
        <p:grpSpPr>
          <a:xfrm>
            <a:off x="5340301" y="3464751"/>
            <a:ext cx="3628623" cy="360000"/>
            <a:chOff x="1508576" y="4027639"/>
            <a:chExt cx="3628623" cy="360000"/>
          </a:xfrm>
        </p:grpSpPr>
        <p:sp>
          <p:nvSpPr>
            <p:cNvPr id="33" name="Прямокутник: округлені кути 43">
              <a:extLst>
                <a:ext uri="{FF2B5EF4-FFF2-40B4-BE49-F238E27FC236}">
                  <a16:creationId xmlns:a16="http://schemas.microsoft.com/office/drawing/2014/main" id="{A9344F1A-26A8-373C-28B0-87DBE57D6DAA}"/>
                </a:ext>
              </a:extLst>
            </p:cNvPr>
            <p:cNvSpPr/>
            <p:nvPr/>
          </p:nvSpPr>
          <p:spPr>
            <a:xfrm>
              <a:off x="1508576" y="4027639"/>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34" name="Прямокутник 44">
              <a:extLst>
                <a:ext uri="{FF2B5EF4-FFF2-40B4-BE49-F238E27FC236}">
                  <a16:creationId xmlns:a16="http://schemas.microsoft.com/office/drawing/2014/main" id="{0EB353F2-3496-5FE6-193F-C22AC70FF9BB}"/>
                </a:ext>
              </a:extLst>
            </p:cNvPr>
            <p:cNvSpPr/>
            <p:nvPr/>
          </p:nvSpPr>
          <p:spPr>
            <a:xfrm>
              <a:off x="2273694" y="4027639"/>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Пункт 2</a:t>
              </a:r>
            </a:p>
          </p:txBody>
        </p:sp>
      </p:grpSp>
      <p:grpSp>
        <p:nvGrpSpPr>
          <p:cNvPr id="35" name="Групувати 45">
            <a:extLst>
              <a:ext uri="{FF2B5EF4-FFF2-40B4-BE49-F238E27FC236}">
                <a16:creationId xmlns:a16="http://schemas.microsoft.com/office/drawing/2014/main" id="{889F5E40-1601-9D4F-24A1-C356CBD98C6D}"/>
              </a:ext>
            </a:extLst>
          </p:cNvPr>
          <p:cNvGrpSpPr/>
          <p:nvPr/>
        </p:nvGrpSpPr>
        <p:grpSpPr>
          <a:xfrm>
            <a:off x="5340299" y="4084446"/>
            <a:ext cx="3628625" cy="807778"/>
            <a:chOff x="1508575" y="4450722"/>
            <a:chExt cx="3628625" cy="807778"/>
          </a:xfrm>
        </p:grpSpPr>
        <p:sp>
          <p:nvSpPr>
            <p:cNvPr id="36" name="Прямокутник: округлені кути 46">
              <a:extLst>
                <a:ext uri="{FF2B5EF4-FFF2-40B4-BE49-F238E27FC236}">
                  <a16:creationId xmlns:a16="http://schemas.microsoft.com/office/drawing/2014/main" id="{D541D34F-EF74-8750-ADE0-F293FFE31A29}"/>
                </a:ext>
              </a:extLst>
            </p:cNvPr>
            <p:cNvSpPr/>
            <p:nvPr/>
          </p:nvSpPr>
          <p:spPr>
            <a:xfrm>
              <a:off x="1508576" y="4898500"/>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37" name="Прямокутник 47">
              <a:extLst>
                <a:ext uri="{FF2B5EF4-FFF2-40B4-BE49-F238E27FC236}">
                  <a16:creationId xmlns:a16="http://schemas.microsoft.com/office/drawing/2014/main" id="{8932D54F-B62D-E741-1F4F-D85A71B68E00}"/>
                </a:ext>
              </a:extLst>
            </p:cNvPr>
            <p:cNvSpPr/>
            <p:nvPr/>
          </p:nvSpPr>
          <p:spPr>
            <a:xfrm>
              <a:off x="2273695" y="4898500"/>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Пункт 1</a:t>
              </a:r>
            </a:p>
          </p:txBody>
        </p:sp>
        <p:sp>
          <p:nvSpPr>
            <p:cNvPr id="38" name="Прямокутник 56">
              <a:extLst>
                <a:ext uri="{FF2B5EF4-FFF2-40B4-BE49-F238E27FC236}">
                  <a16:creationId xmlns:a16="http://schemas.microsoft.com/office/drawing/2014/main" id="{DE8F172D-1E20-E366-DFF5-3AF7A0CCA3E6}"/>
                </a:ext>
              </a:extLst>
            </p:cNvPr>
            <p:cNvSpPr/>
            <p:nvPr/>
          </p:nvSpPr>
          <p:spPr>
            <a:xfrm>
              <a:off x="1508575" y="4450722"/>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b="1" dirty="0">
                  <a:solidFill>
                    <a:schemeClr val="tx1"/>
                  </a:solidFill>
                  <a:ea typeface="Roboto Black" panose="02000000000000000000" pitchFamily="2" charset="0"/>
                </a:rPr>
                <a:t>ГРУПА 2</a:t>
              </a:r>
            </a:p>
          </p:txBody>
        </p:sp>
      </p:grpSp>
      <p:grpSp>
        <p:nvGrpSpPr>
          <p:cNvPr id="46" name="Групувати 48">
            <a:extLst>
              <a:ext uri="{FF2B5EF4-FFF2-40B4-BE49-F238E27FC236}">
                <a16:creationId xmlns:a16="http://schemas.microsoft.com/office/drawing/2014/main" id="{81A2FCB7-2DEB-34BA-D54A-843977068C9C}"/>
              </a:ext>
            </a:extLst>
          </p:cNvPr>
          <p:cNvGrpSpPr/>
          <p:nvPr/>
        </p:nvGrpSpPr>
        <p:grpSpPr>
          <a:xfrm>
            <a:off x="5340300" y="5052666"/>
            <a:ext cx="3628624" cy="360000"/>
            <a:chOff x="1508576" y="4898500"/>
            <a:chExt cx="3628624" cy="360000"/>
          </a:xfrm>
        </p:grpSpPr>
        <p:sp>
          <p:nvSpPr>
            <p:cNvPr id="47" name="Прямокутник: округлені кути 49">
              <a:extLst>
                <a:ext uri="{FF2B5EF4-FFF2-40B4-BE49-F238E27FC236}">
                  <a16:creationId xmlns:a16="http://schemas.microsoft.com/office/drawing/2014/main" id="{B0BE603E-4093-1B82-49C2-235CD16E0B11}"/>
                </a:ext>
              </a:extLst>
            </p:cNvPr>
            <p:cNvSpPr/>
            <p:nvPr/>
          </p:nvSpPr>
          <p:spPr>
            <a:xfrm>
              <a:off x="1508576" y="4898500"/>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4</a:t>
              </a:r>
            </a:p>
          </p:txBody>
        </p:sp>
        <p:sp>
          <p:nvSpPr>
            <p:cNvPr id="48" name="Прямокутник 51">
              <a:extLst>
                <a:ext uri="{FF2B5EF4-FFF2-40B4-BE49-F238E27FC236}">
                  <a16:creationId xmlns:a16="http://schemas.microsoft.com/office/drawing/2014/main" id="{E17C9E46-5029-7923-4872-C45AF39E9132}"/>
                </a:ext>
              </a:extLst>
            </p:cNvPr>
            <p:cNvSpPr/>
            <p:nvPr/>
          </p:nvSpPr>
          <p:spPr>
            <a:xfrm>
              <a:off x="2273695" y="4898500"/>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Пункт 2</a:t>
              </a:r>
            </a:p>
          </p:txBody>
        </p:sp>
      </p:grpSp>
      <p:grpSp>
        <p:nvGrpSpPr>
          <p:cNvPr id="49" name="Групувати 52">
            <a:extLst>
              <a:ext uri="{FF2B5EF4-FFF2-40B4-BE49-F238E27FC236}">
                <a16:creationId xmlns:a16="http://schemas.microsoft.com/office/drawing/2014/main" id="{9488DC66-30C1-C57E-5F1A-8DB00FA8A8C6}"/>
              </a:ext>
            </a:extLst>
          </p:cNvPr>
          <p:cNvGrpSpPr/>
          <p:nvPr/>
        </p:nvGrpSpPr>
        <p:grpSpPr>
          <a:xfrm>
            <a:off x="5340300" y="5573108"/>
            <a:ext cx="3628624" cy="360000"/>
            <a:chOff x="1508576" y="4898500"/>
            <a:chExt cx="3628624" cy="360000"/>
          </a:xfrm>
        </p:grpSpPr>
        <p:sp>
          <p:nvSpPr>
            <p:cNvPr id="50" name="Прямокутник: округлені кути 53">
              <a:extLst>
                <a:ext uri="{FF2B5EF4-FFF2-40B4-BE49-F238E27FC236}">
                  <a16:creationId xmlns:a16="http://schemas.microsoft.com/office/drawing/2014/main" id="{2065B808-B982-2259-6D9A-26E7234C2193}"/>
                </a:ext>
              </a:extLst>
            </p:cNvPr>
            <p:cNvSpPr/>
            <p:nvPr/>
          </p:nvSpPr>
          <p:spPr>
            <a:xfrm>
              <a:off x="1508576" y="4898500"/>
              <a:ext cx="540000" cy="3600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5</a:t>
              </a:r>
            </a:p>
          </p:txBody>
        </p:sp>
        <p:sp>
          <p:nvSpPr>
            <p:cNvPr id="51" name="Прямокутник 54">
              <a:extLst>
                <a:ext uri="{FF2B5EF4-FFF2-40B4-BE49-F238E27FC236}">
                  <a16:creationId xmlns:a16="http://schemas.microsoft.com/office/drawing/2014/main" id="{33E64042-3832-2CE3-114F-09EA9F5953A7}"/>
                </a:ext>
              </a:extLst>
            </p:cNvPr>
            <p:cNvSpPr/>
            <p:nvPr/>
          </p:nvSpPr>
          <p:spPr>
            <a:xfrm>
              <a:off x="2273695" y="4898500"/>
              <a:ext cx="286350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a:solidFill>
                    <a:schemeClr val="tx1"/>
                  </a:solidFill>
                  <a:ea typeface="Roboto Black" panose="02000000000000000000" pitchFamily="2" charset="0"/>
                </a:rPr>
                <a:t>Пункт 3</a:t>
              </a:r>
            </a:p>
          </p:txBody>
        </p:sp>
      </p:grpSp>
    </p:spTree>
    <p:extLst>
      <p:ext uri="{BB962C8B-B14F-4D97-AF65-F5344CB8AC3E}">
        <p14:creationId xmlns:p14="http://schemas.microsoft.com/office/powerpoint/2010/main" val="21072815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Об'єкт 50" hidden="1">
            <a:extLst>
              <a:ext uri="{FF2B5EF4-FFF2-40B4-BE49-F238E27FC236}">
                <a16:creationId xmlns:a16="http://schemas.microsoft.com/office/drawing/2014/main" id="{8F98A7DC-354A-419D-AB5D-D5841234C1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1" name="Об'єкт 50" hidden="1">
                        <a:extLst>
                          <a:ext uri="{FF2B5EF4-FFF2-40B4-BE49-F238E27FC236}">
                            <a16:creationId xmlns:a16="http://schemas.microsoft.com/office/drawing/2014/main" id="{8F98A7DC-354A-419D-AB5D-D5841234C1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Місце для тексту 1">
            <a:extLst>
              <a:ext uri="{FF2B5EF4-FFF2-40B4-BE49-F238E27FC236}">
                <a16:creationId xmlns:a16="http://schemas.microsoft.com/office/drawing/2014/main" id="{9F0C88F4-5477-4DC3-A63D-F61AF30F9164}"/>
              </a:ext>
            </a:extLst>
          </p:cNvPr>
          <p:cNvSpPr>
            <a:spLocks noGrp="1"/>
          </p:cNvSpPr>
          <p:nvPr>
            <p:ph type="body" sz="quarter" idx="13"/>
          </p:nvPr>
        </p:nvSpPr>
        <p:spPr>
          <a:xfrm>
            <a:off x="515937" y="189401"/>
            <a:ext cx="11160126" cy="647212"/>
          </a:xfrm>
        </p:spPr>
        <p:txBody>
          <a:bodyPr/>
          <a:lstStyle/>
          <a:p>
            <a:r>
              <a:rPr lang="ru-RU" dirty="0">
                <a:solidFill>
                  <a:schemeClr val="tx1"/>
                </a:solidFill>
              </a:rPr>
              <a:t>У </a:t>
            </a:r>
            <a:r>
              <a:rPr lang="ru-RU" dirty="0" err="1">
                <a:solidFill>
                  <a:schemeClr val="tx1"/>
                </a:solidFill>
              </a:rPr>
              <a:t>регіоні</a:t>
            </a:r>
            <a:r>
              <a:rPr lang="ru-RU" dirty="0">
                <a:solidFill>
                  <a:schemeClr val="tx1"/>
                </a:solidFill>
              </a:rPr>
              <a:t> є ряд проблем, </a:t>
            </a:r>
            <a:r>
              <a:rPr lang="ru-RU" dirty="0" err="1">
                <a:solidFill>
                  <a:schemeClr val="tx1"/>
                </a:solidFill>
              </a:rPr>
              <a:t>які</a:t>
            </a:r>
            <a:r>
              <a:rPr lang="ru-RU" dirty="0">
                <a:solidFill>
                  <a:schemeClr val="tx1"/>
                </a:solidFill>
              </a:rPr>
              <a:t> </a:t>
            </a:r>
            <a:r>
              <a:rPr lang="ru-RU" dirty="0" err="1">
                <a:solidFill>
                  <a:schemeClr val="tx1"/>
                </a:solidFill>
              </a:rPr>
              <a:t>впливають</a:t>
            </a:r>
            <a:r>
              <a:rPr lang="ru-RU" dirty="0">
                <a:solidFill>
                  <a:schemeClr val="tx1"/>
                </a:solidFill>
              </a:rPr>
              <a:t> на </a:t>
            </a:r>
            <a:r>
              <a:rPr lang="ru-RU" dirty="0" err="1">
                <a:solidFill>
                  <a:schemeClr val="tx1"/>
                </a:solidFill>
              </a:rPr>
              <a:t>освоєння</a:t>
            </a:r>
            <a:r>
              <a:rPr lang="ru-RU" dirty="0">
                <a:solidFill>
                  <a:schemeClr val="tx1"/>
                </a:solidFill>
              </a:rPr>
              <a:t> </a:t>
            </a:r>
            <a:r>
              <a:rPr lang="ru-RU" dirty="0" err="1">
                <a:solidFill>
                  <a:schemeClr val="tx1"/>
                </a:solidFill>
              </a:rPr>
              <a:t>туристичного</a:t>
            </a:r>
            <a:r>
              <a:rPr lang="ru-RU" dirty="0">
                <a:solidFill>
                  <a:schemeClr val="tx1"/>
                </a:solidFill>
              </a:rPr>
              <a:t> </a:t>
            </a:r>
            <a:r>
              <a:rPr lang="ru-RU" dirty="0" err="1">
                <a:solidFill>
                  <a:schemeClr val="tx1"/>
                </a:solidFill>
              </a:rPr>
              <a:t>потенціалу</a:t>
            </a:r>
            <a:r>
              <a:rPr lang="ru-RU" dirty="0">
                <a:solidFill>
                  <a:schemeClr val="tx1"/>
                </a:solidFill>
              </a:rPr>
              <a:t>, </a:t>
            </a:r>
            <a:r>
              <a:rPr lang="ru-RU" dirty="0" err="1">
                <a:solidFill>
                  <a:schemeClr val="tx1"/>
                </a:solidFill>
              </a:rPr>
              <a:t>чи</a:t>
            </a:r>
            <a:r>
              <a:rPr lang="ru-RU" dirty="0">
                <a:solidFill>
                  <a:schemeClr val="tx1"/>
                </a:solidFill>
              </a:rPr>
              <a:t> є </a:t>
            </a:r>
            <a:r>
              <a:rPr lang="ru-RU" dirty="0" err="1">
                <a:solidFill>
                  <a:schemeClr val="tx1"/>
                </a:solidFill>
              </a:rPr>
              <a:t>наслідками</a:t>
            </a:r>
            <a:r>
              <a:rPr lang="ru-RU" dirty="0">
                <a:solidFill>
                  <a:schemeClr val="tx1"/>
                </a:solidFill>
              </a:rPr>
              <a:t> </a:t>
            </a:r>
            <a:r>
              <a:rPr lang="ru-RU" dirty="0" err="1">
                <a:solidFill>
                  <a:schemeClr val="tx1"/>
                </a:solidFill>
              </a:rPr>
              <a:t>його</a:t>
            </a:r>
            <a:r>
              <a:rPr lang="ru-RU" dirty="0">
                <a:solidFill>
                  <a:schemeClr val="tx1"/>
                </a:solidFill>
              </a:rPr>
              <a:t> </a:t>
            </a:r>
            <a:r>
              <a:rPr lang="ru-RU" dirty="0" err="1">
                <a:solidFill>
                  <a:schemeClr val="tx1"/>
                </a:solidFill>
              </a:rPr>
              <a:t>недовикористання</a:t>
            </a:r>
            <a:endParaRPr lang="ru-RU" dirty="0">
              <a:solidFill>
                <a:schemeClr val="tx1"/>
              </a:solidFill>
            </a:endParaRPr>
          </a:p>
        </p:txBody>
      </p:sp>
      <p:sp>
        <p:nvSpPr>
          <p:cNvPr id="20" name="TextBox 19">
            <a:extLst>
              <a:ext uri="{FF2B5EF4-FFF2-40B4-BE49-F238E27FC236}">
                <a16:creationId xmlns:a16="http://schemas.microsoft.com/office/drawing/2014/main" id="{A006B45B-A410-456E-9E41-B7930483564F}"/>
              </a:ext>
            </a:extLst>
          </p:cNvPr>
          <p:cNvSpPr txBox="1"/>
          <p:nvPr/>
        </p:nvSpPr>
        <p:spPr>
          <a:xfrm>
            <a:off x="6271903" y="2016496"/>
            <a:ext cx="5014820" cy="900000"/>
          </a:xfrm>
          <a:prstGeom prst="rect">
            <a:avLst/>
          </a:prstGeom>
          <a:noFill/>
        </p:spPr>
        <p:txBody>
          <a:bodyPr wrap="square" lIns="0" tIns="0" rIns="0" bIns="0" anchor="ctr">
            <a:noAutofit/>
          </a:bodyPr>
          <a:lstStyle/>
          <a:p>
            <a:pPr>
              <a:spcAft>
                <a:spcPts val="600"/>
              </a:spcAft>
            </a:pPr>
            <a:r>
              <a:rPr lang="uk-UA" sz="1400" b="0" i="0" u="none" strike="noStrike" dirty="0">
                <a:solidFill>
                  <a:srgbClr val="000000"/>
                </a:solidFill>
                <a:effectLst/>
              </a:rPr>
              <a:t>Рівень життя мешканців Півдня є низьким. Велика частка населення живе на межі бідності. До цього додаються вкрай складні умови для ведення бізнесу, нестача інфраструктури, погане врядування. </a:t>
            </a:r>
          </a:p>
        </p:txBody>
      </p:sp>
      <p:sp>
        <p:nvSpPr>
          <p:cNvPr id="21" name="TextBox 20">
            <a:extLst>
              <a:ext uri="{FF2B5EF4-FFF2-40B4-BE49-F238E27FC236}">
                <a16:creationId xmlns:a16="http://schemas.microsoft.com/office/drawing/2014/main" id="{57426932-EF68-44A9-A093-F4FC5EC11B0F}"/>
              </a:ext>
            </a:extLst>
          </p:cNvPr>
          <p:cNvSpPr txBox="1"/>
          <p:nvPr/>
        </p:nvSpPr>
        <p:spPr>
          <a:xfrm>
            <a:off x="6271903" y="3569280"/>
            <a:ext cx="5014820" cy="900000"/>
          </a:xfrm>
          <a:prstGeom prst="rect">
            <a:avLst/>
          </a:prstGeom>
          <a:noFill/>
        </p:spPr>
        <p:txBody>
          <a:bodyPr wrap="square" lIns="0" tIns="0" rIns="0" bIns="0" anchor="ctr">
            <a:noAutofit/>
          </a:bodyPr>
          <a:lstStyle/>
          <a:p>
            <a:pPr>
              <a:spcAft>
                <a:spcPts val="600"/>
              </a:spcAft>
            </a:pPr>
            <a:r>
              <a:rPr lang="uk-UA" sz="1400" b="0" i="0" u="none" strike="noStrike" dirty="0">
                <a:solidFill>
                  <a:srgbClr val="000000"/>
                </a:solidFill>
                <a:effectLst/>
              </a:rPr>
              <a:t>Яскраве культурне </a:t>
            </a:r>
            <a:r>
              <a:rPr lang="uk-UA" sz="1400" b="0" i="0" u="none" strike="noStrike" dirty="0" err="1">
                <a:solidFill>
                  <a:srgbClr val="000000"/>
                </a:solidFill>
                <a:effectLst/>
              </a:rPr>
              <a:t>різномаїття</a:t>
            </a:r>
            <a:r>
              <a:rPr lang="uk-UA" sz="1400" b="0" i="0" u="none" strike="noStrike" dirty="0">
                <a:solidFill>
                  <a:srgbClr val="000000"/>
                </a:solidFill>
                <a:effectLst/>
              </a:rPr>
              <a:t> регіону розчиняється у відсутності спільної платформи для реалізації культурних </a:t>
            </a:r>
            <a:r>
              <a:rPr lang="uk-UA" sz="1400" b="0" i="0" u="none" strike="noStrike" dirty="0" err="1">
                <a:solidFill>
                  <a:srgbClr val="000000"/>
                </a:solidFill>
                <a:effectLst/>
              </a:rPr>
              <a:t>активностей</a:t>
            </a:r>
            <a:r>
              <a:rPr lang="uk-UA" sz="1400" b="0" i="0" u="none" strike="noStrike" dirty="0">
                <a:solidFill>
                  <a:srgbClr val="000000"/>
                </a:solidFill>
                <a:effectLst/>
              </a:rPr>
              <a:t>, обміну досвідом, створення нових проєктів і продуктів.</a:t>
            </a:r>
          </a:p>
        </p:txBody>
      </p:sp>
      <p:sp>
        <p:nvSpPr>
          <p:cNvPr id="22" name="TextBox 21">
            <a:extLst>
              <a:ext uri="{FF2B5EF4-FFF2-40B4-BE49-F238E27FC236}">
                <a16:creationId xmlns:a16="http://schemas.microsoft.com/office/drawing/2014/main" id="{71AFC6F0-4DE6-4479-8E67-EEA95ED7241D}"/>
              </a:ext>
            </a:extLst>
          </p:cNvPr>
          <p:cNvSpPr txBox="1"/>
          <p:nvPr/>
        </p:nvSpPr>
        <p:spPr>
          <a:xfrm>
            <a:off x="6271903" y="4942066"/>
            <a:ext cx="5014820" cy="720000"/>
          </a:xfrm>
          <a:prstGeom prst="rect">
            <a:avLst/>
          </a:prstGeom>
          <a:noFill/>
        </p:spPr>
        <p:txBody>
          <a:bodyPr wrap="square" lIns="0" tIns="0" rIns="0" bIns="0" anchor="ctr">
            <a:noAutofit/>
          </a:bodyPr>
          <a:lstStyle/>
          <a:p>
            <a:pPr>
              <a:spcAft>
                <a:spcPts val="600"/>
              </a:spcAft>
            </a:pPr>
            <a:r>
              <a:rPr lang="ru-RU" sz="1400" b="0" i="0" u="none" strike="noStrike" dirty="0" err="1">
                <a:solidFill>
                  <a:srgbClr val="000000"/>
                </a:solidFill>
                <a:effectLst/>
              </a:rPr>
              <a:t>Засмічення</a:t>
            </a:r>
            <a:r>
              <a:rPr lang="ru-RU" sz="1400" b="0" i="0" u="none" strike="noStrike" dirty="0">
                <a:solidFill>
                  <a:srgbClr val="000000"/>
                </a:solidFill>
                <a:effectLst/>
              </a:rPr>
              <a:t> та </a:t>
            </a:r>
            <a:r>
              <a:rPr lang="ru-RU" sz="1400" b="0" i="0" u="none" strike="noStrike" dirty="0" err="1">
                <a:solidFill>
                  <a:srgbClr val="000000"/>
                </a:solidFill>
                <a:effectLst/>
              </a:rPr>
              <a:t>рукотворне</a:t>
            </a:r>
            <a:r>
              <a:rPr lang="ru-RU" sz="1400" b="0" i="0" u="none" strike="noStrike" dirty="0">
                <a:solidFill>
                  <a:srgbClr val="000000"/>
                </a:solidFill>
                <a:effectLst/>
              </a:rPr>
              <a:t> </a:t>
            </a:r>
            <a:r>
              <a:rPr lang="ru-RU" sz="1400" b="0" i="0" u="none" strike="noStrike" dirty="0" err="1">
                <a:solidFill>
                  <a:srgbClr val="000000"/>
                </a:solidFill>
                <a:effectLst/>
              </a:rPr>
              <a:t>знищення</a:t>
            </a:r>
            <a:r>
              <a:rPr lang="ru-RU" sz="1400" b="0" i="0" u="none" strike="noStrike" dirty="0">
                <a:solidFill>
                  <a:srgbClr val="000000"/>
                </a:solidFill>
                <a:effectLst/>
              </a:rPr>
              <a:t> </a:t>
            </a:r>
            <a:r>
              <a:rPr lang="ru-RU" sz="1400" b="0" i="0" u="none" strike="noStrike" dirty="0" err="1">
                <a:solidFill>
                  <a:srgbClr val="000000"/>
                </a:solidFill>
                <a:effectLst/>
              </a:rPr>
              <a:t>довкілля</a:t>
            </a:r>
            <a:r>
              <a:rPr lang="ru-RU" sz="1400" b="0" i="0" u="none" strike="noStrike" dirty="0">
                <a:solidFill>
                  <a:srgbClr val="000000"/>
                </a:solidFill>
                <a:effectLst/>
              </a:rPr>
              <a:t> негативно </a:t>
            </a:r>
            <a:r>
              <a:rPr lang="ru-RU" sz="1400" b="0" i="0" u="none" strike="noStrike" dirty="0" err="1">
                <a:solidFill>
                  <a:srgbClr val="000000"/>
                </a:solidFill>
                <a:effectLst/>
              </a:rPr>
              <a:t>впливають</a:t>
            </a:r>
            <a:r>
              <a:rPr lang="ru-RU" sz="1400" b="0" i="0" u="none" strike="noStrike" dirty="0">
                <a:solidFill>
                  <a:srgbClr val="000000"/>
                </a:solidFill>
                <a:effectLst/>
              </a:rPr>
              <a:t> на </a:t>
            </a:r>
            <a:r>
              <a:rPr lang="ru-RU" sz="1400" b="0" i="0" u="none" strike="noStrike" dirty="0" err="1">
                <a:solidFill>
                  <a:srgbClr val="000000"/>
                </a:solidFill>
                <a:effectLst/>
              </a:rPr>
              <a:t>здоров’я</a:t>
            </a:r>
            <a:r>
              <a:rPr lang="ru-RU" sz="1400" b="0" i="0" u="none" strike="noStrike" dirty="0">
                <a:solidFill>
                  <a:srgbClr val="000000"/>
                </a:solidFill>
                <a:effectLst/>
              </a:rPr>
              <a:t> </a:t>
            </a:r>
            <a:r>
              <a:rPr lang="ru-RU" sz="1400" b="0" i="0" u="none" strike="noStrike" dirty="0" err="1">
                <a:solidFill>
                  <a:srgbClr val="000000"/>
                </a:solidFill>
                <a:effectLst/>
              </a:rPr>
              <a:t>мешканців</a:t>
            </a:r>
            <a:r>
              <a:rPr lang="ru-RU" sz="1400" b="0" i="0" u="none" strike="noStrike" dirty="0">
                <a:solidFill>
                  <a:srgbClr val="000000"/>
                </a:solidFill>
                <a:effectLst/>
              </a:rPr>
              <a:t> і </a:t>
            </a:r>
            <a:r>
              <a:rPr lang="ru-RU" sz="1400" b="0" i="0" u="none" strike="noStrike" dirty="0" err="1">
                <a:solidFill>
                  <a:srgbClr val="000000"/>
                </a:solidFill>
                <a:effectLst/>
              </a:rPr>
              <a:t>туристичну</a:t>
            </a:r>
            <a:r>
              <a:rPr lang="ru-RU" sz="1400" b="0" i="0" u="none" strike="noStrike" dirty="0">
                <a:solidFill>
                  <a:srgbClr val="000000"/>
                </a:solidFill>
                <a:effectLst/>
              </a:rPr>
              <a:t> </a:t>
            </a:r>
            <a:r>
              <a:rPr lang="ru-RU" sz="1400" b="0" i="0" u="none" strike="noStrike" dirty="0" err="1">
                <a:solidFill>
                  <a:srgbClr val="000000"/>
                </a:solidFill>
                <a:effectLst/>
              </a:rPr>
              <a:t>привабливість</a:t>
            </a:r>
            <a:r>
              <a:rPr lang="ru-RU" sz="1400" b="0" i="0" u="none" strike="noStrike" dirty="0">
                <a:solidFill>
                  <a:srgbClr val="000000"/>
                </a:solidFill>
                <a:effectLst/>
              </a:rPr>
              <a:t> </a:t>
            </a:r>
            <a:r>
              <a:rPr lang="ru-RU" sz="1400" b="0" i="0" u="none" strike="noStrike" dirty="0" err="1">
                <a:solidFill>
                  <a:srgbClr val="000000"/>
                </a:solidFill>
                <a:effectLst/>
              </a:rPr>
              <a:t>регіону</a:t>
            </a:r>
            <a:r>
              <a:rPr lang="ru-RU" sz="1400" b="0" i="0" u="none" strike="noStrike" dirty="0">
                <a:solidFill>
                  <a:srgbClr val="000000"/>
                </a:solidFill>
                <a:effectLst/>
              </a:rPr>
              <a:t>. Треба </a:t>
            </a:r>
            <a:r>
              <a:rPr lang="ru-RU" sz="1400" b="0" i="0" u="none" strike="noStrike" dirty="0" err="1">
                <a:solidFill>
                  <a:srgbClr val="000000"/>
                </a:solidFill>
                <a:effectLst/>
              </a:rPr>
              <a:t>діяти</a:t>
            </a:r>
            <a:r>
              <a:rPr lang="ru-RU" sz="1400" b="0" i="0" u="none" strike="noStrike" dirty="0">
                <a:solidFill>
                  <a:srgbClr val="000000"/>
                </a:solidFill>
                <a:effectLst/>
              </a:rPr>
              <a:t> </a:t>
            </a:r>
            <a:r>
              <a:rPr lang="ru-RU" sz="1400" b="0" i="0" u="none" strike="noStrike" dirty="0" err="1">
                <a:solidFill>
                  <a:srgbClr val="000000"/>
                </a:solidFill>
                <a:effectLst/>
              </a:rPr>
              <a:t>негайно</a:t>
            </a:r>
            <a:r>
              <a:rPr lang="ru-RU" sz="1400" b="0" i="0" u="none" strike="noStrike" dirty="0">
                <a:solidFill>
                  <a:srgbClr val="000000"/>
                </a:solidFill>
                <a:effectLst/>
              </a:rPr>
              <a:t>. </a:t>
            </a:r>
          </a:p>
        </p:txBody>
      </p:sp>
      <p:sp>
        <p:nvSpPr>
          <p:cNvPr id="24" name="TextBox 23">
            <a:extLst>
              <a:ext uri="{FF2B5EF4-FFF2-40B4-BE49-F238E27FC236}">
                <a16:creationId xmlns:a16="http://schemas.microsoft.com/office/drawing/2014/main" id="{E217D68C-8F8E-4F58-91E1-C17AE5E654B0}"/>
              </a:ext>
            </a:extLst>
          </p:cNvPr>
          <p:cNvSpPr txBox="1"/>
          <p:nvPr/>
        </p:nvSpPr>
        <p:spPr>
          <a:xfrm>
            <a:off x="6271903" y="2882888"/>
            <a:ext cx="5014820" cy="720000"/>
          </a:xfrm>
          <a:prstGeom prst="rect">
            <a:avLst/>
          </a:prstGeom>
          <a:noFill/>
        </p:spPr>
        <p:txBody>
          <a:bodyPr wrap="square" lIns="0" tIns="0" rIns="0" bIns="0" anchor="ctr">
            <a:noAutofit/>
          </a:bodyPr>
          <a:lstStyle/>
          <a:p>
            <a:pPr>
              <a:spcAft>
                <a:spcPts val="600"/>
              </a:spcAft>
            </a:pPr>
            <a:r>
              <a:rPr lang="ru-RU" sz="1400" b="0" i="0" u="none" strike="noStrike" dirty="0">
                <a:solidFill>
                  <a:srgbClr val="000000"/>
                </a:solidFill>
                <a:effectLst/>
              </a:rPr>
              <a:t>Люди в </a:t>
            </a:r>
            <a:r>
              <a:rPr lang="ru-RU" sz="1400" b="0" i="0" u="none" strike="noStrike" dirty="0" err="1">
                <a:solidFill>
                  <a:srgbClr val="000000"/>
                </a:solidFill>
                <a:effectLst/>
              </a:rPr>
              <a:t>регіоні</a:t>
            </a:r>
            <a:r>
              <a:rPr lang="ru-RU" sz="1400" b="0" i="0" u="none" strike="noStrike" dirty="0">
                <a:solidFill>
                  <a:srgbClr val="000000"/>
                </a:solidFill>
                <a:effectLst/>
              </a:rPr>
              <a:t> </a:t>
            </a:r>
            <a:r>
              <a:rPr lang="ru-RU" sz="1400" b="0" i="0" u="none" strike="noStrike" dirty="0" err="1">
                <a:solidFill>
                  <a:srgbClr val="000000"/>
                </a:solidFill>
                <a:effectLst/>
              </a:rPr>
              <a:t>скаржаться</a:t>
            </a:r>
            <a:r>
              <a:rPr lang="ru-RU" sz="1400" b="0" i="0" u="none" strike="noStrike" dirty="0">
                <a:solidFill>
                  <a:srgbClr val="000000"/>
                </a:solidFill>
                <a:effectLst/>
              </a:rPr>
              <a:t> на </a:t>
            </a:r>
            <a:r>
              <a:rPr lang="ru-RU" sz="1400" b="0" i="0" u="none" strike="noStrike" dirty="0" err="1">
                <a:solidFill>
                  <a:srgbClr val="000000"/>
                </a:solidFill>
                <a:effectLst/>
              </a:rPr>
              <a:t>несправедливість</a:t>
            </a:r>
            <a:r>
              <a:rPr lang="ru-RU" sz="1400" b="0" i="0" u="none" strike="noStrike" dirty="0">
                <a:solidFill>
                  <a:srgbClr val="000000"/>
                </a:solidFill>
                <a:effectLst/>
              </a:rPr>
              <a:t> і </a:t>
            </a:r>
            <a:r>
              <a:rPr lang="ru-RU" sz="1400" b="0" i="0" u="none" strike="noStrike" dirty="0" err="1">
                <a:solidFill>
                  <a:srgbClr val="000000"/>
                </a:solidFill>
                <a:effectLst/>
              </a:rPr>
              <a:t>незахищеність</a:t>
            </a:r>
            <a:r>
              <a:rPr lang="ru-RU" sz="1400" b="0" i="0" u="none" strike="noStrike" dirty="0">
                <a:solidFill>
                  <a:srgbClr val="000000"/>
                </a:solidFill>
                <a:effectLst/>
              </a:rPr>
              <a:t>. </a:t>
            </a:r>
            <a:r>
              <a:rPr lang="ru-RU" sz="1400" b="0" i="0" u="none" strike="noStrike" dirty="0" err="1">
                <a:solidFill>
                  <a:srgbClr val="000000"/>
                </a:solidFill>
                <a:effectLst/>
              </a:rPr>
              <a:t>Цю</a:t>
            </a:r>
            <a:r>
              <a:rPr lang="ru-RU" sz="1400" b="0" i="0" u="none" strike="noStrike" dirty="0">
                <a:solidFill>
                  <a:srgbClr val="000000"/>
                </a:solidFill>
                <a:effectLst/>
              </a:rPr>
              <a:t> атмосферу </a:t>
            </a:r>
            <a:r>
              <a:rPr lang="ru-RU" sz="1400" b="0" i="0" u="none" strike="noStrike" dirty="0" err="1">
                <a:solidFill>
                  <a:srgbClr val="000000"/>
                </a:solidFill>
                <a:effectLst/>
              </a:rPr>
              <a:t>використовують</a:t>
            </a:r>
            <a:r>
              <a:rPr lang="ru-RU" sz="1400" b="0" i="0" u="none" strike="noStrike" dirty="0">
                <a:solidFill>
                  <a:srgbClr val="000000"/>
                </a:solidFill>
                <a:effectLst/>
              </a:rPr>
              <a:t> </a:t>
            </a:r>
            <a:r>
              <a:rPr lang="ru-RU" sz="1400" b="0" i="0" u="none" strike="noStrike" dirty="0" err="1">
                <a:solidFill>
                  <a:srgbClr val="000000"/>
                </a:solidFill>
                <a:effectLst/>
              </a:rPr>
              <a:t>опоненти</a:t>
            </a:r>
            <a:r>
              <a:rPr lang="ru-RU" sz="1400" b="0" i="0" u="none" strike="noStrike" dirty="0">
                <a:solidFill>
                  <a:srgbClr val="000000"/>
                </a:solidFill>
                <a:effectLst/>
              </a:rPr>
              <a:t> </a:t>
            </a:r>
            <a:r>
              <a:rPr lang="ru-RU" sz="1400" b="0" i="0" u="none" strike="noStrike" dirty="0" err="1">
                <a:solidFill>
                  <a:srgbClr val="000000"/>
                </a:solidFill>
                <a:effectLst/>
              </a:rPr>
              <a:t>влади</a:t>
            </a:r>
            <a:r>
              <a:rPr lang="ru-RU" sz="1400" b="0" i="0" u="none" strike="noStrike" dirty="0">
                <a:solidFill>
                  <a:srgbClr val="000000"/>
                </a:solidFill>
                <a:effectLst/>
              </a:rPr>
              <a:t> та </a:t>
            </a:r>
            <a:r>
              <a:rPr lang="ru-RU" sz="1400" b="0" i="0" u="none" strike="noStrike" dirty="0" err="1">
                <a:solidFill>
                  <a:srgbClr val="000000"/>
                </a:solidFill>
                <a:effectLst/>
              </a:rPr>
              <a:t>Росія</a:t>
            </a:r>
            <a:r>
              <a:rPr lang="ru-RU" sz="1400" b="0" i="0" u="none" strike="noStrike" dirty="0">
                <a:solidFill>
                  <a:srgbClr val="000000"/>
                </a:solidFill>
                <a:effectLst/>
              </a:rPr>
              <a:t> — для </a:t>
            </a:r>
            <a:r>
              <a:rPr lang="ru-RU" sz="1400" b="0" i="0" u="none" strike="noStrike" dirty="0" err="1">
                <a:solidFill>
                  <a:srgbClr val="000000"/>
                </a:solidFill>
                <a:effectLst/>
              </a:rPr>
              <a:t>нарощення</a:t>
            </a:r>
            <a:r>
              <a:rPr lang="ru-RU" sz="1400" b="0" i="0" u="none" strike="noStrike" dirty="0">
                <a:solidFill>
                  <a:srgbClr val="000000"/>
                </a:solidFill>
                <a:effectLst/>
              </a:rPr>
              <a:t> </a:t>
            </a:r>
            <a:r>
              <a:rPr lang="ru-RU" sz="1400" b="0" i="0" u="none" strike="noStrike" dirty="0" err="1">
                <a:solidFill>
                  <a:srgbClr val="000000"/>
                </a:solidFill>
                <a:effectLst/>
              </a:rPr>
              <a:t>свого</a:t>
            </a:r>
            <a:r>
              <a:rPr lang="ru-RU" sz="1400" b="0" i="0" u="none" strike="noStrike" dirty="0">
                <a:solidFill>
                  <a:srgbClr val="000000"/>
                </a:solidFill>
                <a:effectLst/>
              </a:rPr>
              <a:t> </a:t>
            </a:r>
            <a:r>
              <a:rPr lang="ru-RU" sz="1400" b="0" i="0" u="none" strike="noStrike" dirty="0" err="1">
                <a:solidFill>
                  <a:srgbClr val="000000"/>
                </a:solidFill>
                <a:effectLst/>
              </a:rPr>
              <a:t>впливу</a:t>
            </a:r>
            <a:r>
              <a:rPr lang="ru-RU" sz="1400" b="0" i="0" u="none" strike="noStrike" dirty="0">
                <a:solidFill>
                  <a:srgbClr val="000000"/>
                </a:solidFill>
                <a:effectLst/>
              </a:rPr>
              <a:t>.</a:t>
            </a:r>
          </a:p>
        </p:txBody>
      </p:sp>
      <p:sp>
        <p:nvSpPr>
          <p:cNvPr id="25" name="TextBox 24">
            <a:extLst>
              <a:ext uri="{FF2B5EF4-FFF2-40B4-BE49-F238E27FC236}">
                <a16:creationId xmlns:a16="http://schemas.microsoft.com/office/drawing/2014/main" id="{0831C1F6-112C-49D6-88C4-B01B86A8FEC9}"/>
              </a:ext>
            </a:extLst>
          </p:cNvPr>
          <p:cNvSpPr txBox="1"/>
          <p:nvPr/>
        </p:nvSpPr>
        <p:spPr>
          <a:xfrm>
            <a:off x="6271903" y="4435672"/>
            <a:ext cx="5014820" cy="540000"/>
          </a:xfrm>
          <a:prstGeom prst="rect">
            <a:avLst/>
          </a:prstGeom>
          <a:noFill/>
        </p:spPr>
        <p:txBody>
          <a:bodyPr wrap="square" lIns="0" tIns="0" rIns="0" bIns="0" anchor="ctr">
            <a:noAutofit/>
          </a:bodyPr>
          <a:lstStyle/>
          <a:p>
            <a:pPr>
              <a:spcAft>
                <a:spcPts val="600"/>
              </a:spcAft>
            </a:pPr>
            <a:r>
              <a:rPr lang="ru-RU" sz="1400" b="0" i="0" u="none" strike="noStrike" dirty="0" err="1">
                <a:solidFill>
                  <a:srgbClr val="000000"/>
                </a:solidFill>
                <a:effectLst/>
              </a:rPr>
              <a:t>Більшу</a:t>
            </a:r>
            <a:r>
              <a:rPr lang="ru-RU" sz="1400" b="0" i="0" u="none" strike="noStrike" dirty="0">
                <a:solidFill>
                  <a:srgbClr val="000000"/>
                </a:solidFill>
                <a:effectLst/>
              </a:rPr>
              <a:t> </a:t>
            </a:r>
            <a:r>
              <a:rPr lang="ru-RU" sz="1400" b="0" i="0" u="none" strike="noStrike" dirty="0" err="1">
                <a:solidFill>
                  <a:srgbClr val="000000"/>
                </a:solidFill>
                <a:effectLst/>
              </a:rPr>
              <a:t>частину</a:t>
            </a:r>
            <a:r>
              <a:rPr lang="ru-RU" sz="1400" b="0" i="0" u="none" strike="noStrike" dirty="0">
                <a:solidFill>
                  <a:srgbClr val="000000"/>
                </a:solidFill>
                <a:effectLst/>
              </a:rPr>
              <a:t> часу погода в </a:t>
            </a:r>
            <a:r>
              <a:rPr lang="ru-RU" sz="1400" b="0" i="0" u="none" strike="noStrike" dirty="0" err="1">
                <a:solidFill>
                  <a:srgbClr val="000000"/>
                </a:solidFill>
                <a:effectLst/>
              </a:rPr>
              <a:t>регіоні</a:t>
            </a:r>
            <a:r>
              <a:rPr lang="ru-RU" sz="1400" b="0" i="0" u="none" strike="noStrike" dirty="0">
                <a:solidFill>
                  <a:srgbClr val="000000"/>
                </a:solidFill>
                <a:effectLst/>
              </a:rPr>
              <a:t> є </a:t>
            </a:r>
            <a:r>
              <a:rPr lang="ru-RU" sz="1400" b="0" i="0" u="none" strike="noStrike" dirty="0" err="1">
                <a:solidFill>
                  <a:srgbClr val="000000"/>
                </a:solidFill>
                <a:effectLst/>
              </a:rPr>
              <a:t>непривітною</a:t>
            </a:r>
            <a:r>
              <a:rPr lang="ru-RU" sz="1400" b="0" i="0" u="none" strike="noStrike" dirty="0">
                <a:solidFill>
                  <a:srgbClr val="000000"/>
                </a:solidFill>
                <a:effectLst/>
              </a:rPr>
              <a:t>: </a:t>
            </a:r>
            <a:r>
              <a:rPr lang="ru-RU" sz="1400" b="0" i="0" u="none" strike="noStrike" dirty="0" err="1">
                <a:solidFill>
                  <a:srgbClr val="000000"/>
                </a:solidFill>
                <a:effectLst/>
              </a:rPr>
              <a:t>її</a:t>
            </a:r>
            <a:r>
              <a:rPr lang="ru-RU" sz="1400" b="0" i="0" u="none" strike="noStrike" dirty="0">
                <a:solidFill>
                  <a:srgbClr val="000000"/>
                </a:solidFill>
                <a:effectLst/>
              </a:rPr>
              <a:t> «</a:t>
            </a:r>
            <a:r>
              <a:rPr lang="ru-RU" sz="1400" b="0" i="0" u="none" strike="noStrike" dirty="0" err="1">
                <a:solidFill>
                  <a:srgbClr val="000000"/>
                </a:solidFill>
                <a:effectLst/>
              </a:rPr>
              <a:t>лихоманить</a:t>
            </a:r>
            <a:r>
              <a:rPr lang="ru-RU" sz="1400" b="0" i="0" u="none" strike="noStrike" dirty="0">
                <a:solidFill>
                  <a:srgbClr val="000000"/>
                </a:solidFill>
                <a:effectLst/>
              </a:rPr>
              <a:t>» </a:t>
            </a:r>
            <a:r>
              <a:rPr lang="ru-RU" sz="1400" b="0" i="0" u="none" strike="noStrike" dirty="0" err="1">
                <a:solidFill>
                  <a:srgbClr val="000000"/>
                </a:solidFill>
                <a:effectLst/>
              </a:rPr>
              <a:t>від</a:t>
            </a:r>
            <a:r>
              <a:rPr lang="ru-RU" sz="1400" b="0" i="0" u="none" strike="noStrike" dirty="0">
                <a:solidFill>
                  <a:srgbClr val="000000"/>
                </a:solidFill>
                <a:effectLst/>
              </a:rPr>
              <a:t> сильного холоду до </a:t>
            </a:r>
            <a:r>
              <a:rPr lang="ru-RU" sz="1400" b="0" i="0" u="none" strike="noStrike" dirty="0" err="1">
                <a:solidFill>
                  <a:srgbClr val="000000"/>
                </a:solidFill>
                <a:effectLst/>
              </a:rPr>
              <a:t>виснажливих</a:t>
            </a:r>
            <a:r>
              <a:rPr lang="ru-RU" sz="1400" b="0" i="0" u="none" strike="noStrike" dirty="0">
                <a:solidFill>
                  <a:srgbClr val="000000"/>
                </a:solidFill>
                <a:effectLst/>
              </a:rPr>
              <a:t> </a:t>
            </a:r>
            <a:r>
              <a:rPr lang="ru-RU" sz="1400" b="0" i="0" u="none" strike="noStrike" dirty="0" err="1">
                <a:solidFill>
                  <a:srgbClr val="000000"/>
                </a:solidFill>
                <a:effectLst/>
              </a:rPr>
              <a:t>посух</a:t>
            </a:r>
            <a:r>
              <a:rPr lang="ru-RU" sz="1400" b="0" i="0" u="none" strike="noStrike" dirty="0">
                <a:solidFill>
                  <a:srgbClr val="000000"/>
                </a:solidFill>
                <a:effectLst/>
              </a:rPr>
              <a:t>. </a:t>
            </a:r>
          </a:p>
        </p:txBody>
      </p:sp>
      <p:sp>
        <p:nvSpPr>
          <p:cNvPr id="8" name="Соціально- економічний">
            <a:extLst>
              <a:ext uri="{FF2B5EF4-FFF2-40B4-BE49-F238E27FC236}">
                <a16:creationId xmlns:a16="http://schemas.microsoft.com/office/drawing/2014/main" id="{84D50085-11E9-4685-B8D0-6E91BD260BA3}"/>
              </a:ext>
            </a:extLst>
          </p:cNvPr>
          <p:cNvSpPr txBox="1"/>
          <p:nvPr/>
        </p:nvSpPr>
        <p:spPr>
          <a:xfrm>
            <a:off x="1429010" y="2393676"/>
            <a:ext cx="1357951" cy="46651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p>
            <a:pPr algn="ctr" defTabSz="457200">
              <a:lnSpc>
                <a:spcPct val="110000"/>
              </a:lnSpc>
              <a:defRPr sz="3500" spc="35">
                <a:solidFill>
                  <a:srgbClr val="000000"/>
                </a:solidFill>
                <a:latin typeface="e-Ukraine Regular"/>
                <a:ea typeface="e-Ukraine Regular"/>
                <a:cs typeface="e-Ukraine Regular"/>
                <a:sym typeface="e-Ukraine Regular"/>
              </a:defRPr>
            </a:pPr>
            <a:r>
              <a:rPr sz="1200" dirty="0" err="1">
                <a:latin typeface="+mj-lt"/>
              </a:rPr>
              <a:t>Соціально</a:t>
            </a:r>
            <a:r>
              <a:rPr sz="1200" dirty="0">
                <a:latin typeface="+mj-lt"/>
              </a:rPr>
              <a:t>-</a:t>
            </a:r>
            <a:br>
              <a:rPr sz="1200" dirty="0">
                <a:latin typeface="+mj-lt"/>
              </a:rPr>
            </a:br>
            <a:r>
              <a:rPr sz="1200" dirty="0" err="1">
                <a:latin typeface="+mj-lt"/>
              </a:rPr>
              <a:t>економічний</a:t>
            </a:r>
            <a:r>
              <a:rPr sz="1200" dirty="0">
                <a:latin typeface="+mj-lt"/>
              </a:rPr>
              <a:t> </a:t>
            </a:r>
          </a:p>
        </p:txBody>
      </p:sp>
      <p:sp>
        <p:nvSpPr>
          <p:cNvPr id="9" name="Культурний">
            <a:extLst>
              <a:ext uri="{FF2B5EF4-FFF2-40B4-BE49-F238E27FC236}">
                <a16:creationId xmlns:a16="http://schemas.microsoft.com/office/drawing/2014/main" id="{23BC2249-6601-4150-8923-A4571B0918FB}"/>
              </a:ext>
            </a:extLst>
          </p:cNvPr>
          <p:cNvSpPr txBox="1"/>
          <p:nvPr/>
        </p:nvSpPr>
        <p:spPr>
          <a:xfrm>
            <a:off x="905277" y="4058372"/>
            <a:ext cx="1313144" cy="26696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a:latin typeface="+mj-lt"/>
              </a:rPr>
              <a:t>Культурний</a:t>
            </a:r>
          </a:p>
        </p:txBody>
      </p:sp>
      <p:sp>
        <p:nvSpPr>
          <p:cNvPr id="10" name="Політичний">
            <a:extLst>
              <a:ext uri="{FF2B5EF4-FFF2-40B4-BE49-F238E27FC236}">
                <a16:creationId xmlns:a16="http://schemas.microsoft.com/office/drawing/2014/main" id="{BC76ABF2-CB53-40D3-A9FF-CE893D02AA21}"/>
              </a:ext>
            </a:extLst>
          </p:cNvPr>
          <p:cNvSpPr txBox="1"/>
          <p:nvPr/>
        </p:nvSpPr>
        <p:spPr>
          <a:xfrm>
            <a:off x="3141703" y="2504453"/>
            <a:ext cx="1504000" cy="2449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a:latin typeface="+mj-lt"/>
              </a:rPr>
              <a:t>Політичний</a:t>
            </a:r>
          </a:p>
        </p:txBody>
      </p:sp>
      <p:sp>
        <p:nvSpPr>
          <p:cNvPr id="11" name="Кліматичний">
            <a:extLst>
              <a:ext uri="{FF2B5EF4-FFF2-40B4-BE49-F238E27FC236}">
                <a16:creationId xmlns:a16="http://schemas.microsoft.com/office/drawing/2014/main" id="{55E2DA37-2628-4B0F-9C3D-637700FE27E1}"/>
              </a:ext>
            </a:extLst>
          </p:cNvPr>
          <p:cNvSpPr txBox="1"/>
          <p:nvPr/>
        </p:nvSpPr>
        <p:spPr>
          <a:xfrm>
            <a:off x="3703579" y="4069370"/>
            <a:ext cx="1508287" cy="2449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dirty="0" err="1">
                <a:latin typeface="+mj-lt"/>
              </a:rPr>
              <a:t>Кліматичний</a:t>
            </a:r>
            <a:endParaRPr sz="1200" dirty="0">
              <a:latin typeface="+mj-lt"/>
            </a:endParaRPr>
          </a:p>
        </p:txBody>
      </p:sp>
      <p:sp>
        <p:nvSpPr>
          <p:cNvPr id="12" name="Екологічний">
            <a:extLst>
              <a:ext uri="{FF2B5EF4-FFF2-40B4-BE49-F238E27FC236}">
                <a16:creationId xmlns:a16="http://schemas.microsoft.com/office/drawing/2014/main" id="{5D81118E-90CF-4294-BC4C-3CF09C559534}"/>
              </a:ext>
            </a:extLst>
          </p:cNvPr>
          <p:cNvSpPr txBox="1"/>
          <p:nvPr/>
        </p:nvSpPr>
        <p:spPr>
          <a:xfrm>
            <a:off x="2229779" y="5041368"/>
            <a:ext cx="1599887" cy="2449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dirty="0" err="1">
                <a:latin typeface="+mj-lt"/>
              </a:rPr>
              <a:t>Екологічний</a:t>
            </a:r>
            <a:endParaRPr sz="1200" dirty="0">
              <a:latin typeface="+mj-lt"/>
            </a:endParaRPr>
          </a:p>
        </p:txBody>
      </p:sp>
      <p:grpSp>
        <p:nvGrpSpPr>
          <p:cNvPr id="3" name="Групувати 2">
            <a:extLst>
              <a:ext uri="{FF2B5EF4-FFF2-40B4-BE49-F238E27FC236}">
                <a16:creationId xmlns:a16="http://schemas.microsoft.com/office/drawing/2014/main" id="{87D3522B-AFA6-45A7-9706-250AB17CA259}"/>
              </a:ext>
            </a:extLst>
          </p:cNvPr>
          <p:cNvGrpSpPr/>
          <p:nvPr/>
        </p:nvGrpSpPr>
        <p:grpSpPr>
          <a:xfrm>
            <a:off x="714559" y="1518279"/>
            <a:ext cx="4630326" cy="4642004"/>
            <a:chOff x="3712032" y="1273131"/>
            <a:chExt cx="4767936" cy="4779961"/>
          </a:xfrm>
        </p:grpSpPr>
        <p:sp>
          <p:nvSpPr>
            <p:cNvPr id="7" name="Circle">
              <a:extLst>
                <a:ext uri="{FF2B5EF4-FFF2-40B4-BE49-F238E27FC236}">
                  <a16:creationId xmlns:a16="http://schemas.microsoft.com/office/drawing/2014/main" id="{2C42D07C-9845-44D3-A6DD-F5F20007BEEF}"/>
                </a:ext>
              </a:extLst>
            </p:cNvPr>
            <p:cNvSpPr/>
            <p:nvPr/>
          </p:nvSpPr>
          <p:spPr>
            <a:xfrm>
              <a:off x="3712032" y="1285156"/>
              <a:ext cx="4767936" cy="4767936"/>
            </a:xfrm>
            <a:prstGeom prst="ellips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dirty="0"/>
            </a:p>
          </p:txBody>
        </p:sp>
        <p:sp>
          <p:nvSpPr>
            <p:cNvPr id="13" name="Line">
              <a:extLst>
                <a:ext uri="{FF2B5EF4-FFF2-40B4-BE49-F238E27FC236}">
                  <a16:creationId xmlns:a16="http://schemas.microsoft.com/office/drawing/2014/main" id="{ADA9482B-5C39-43BE-8100-89169FB22F3E}"/>
                </a:ext>
              </a:extLst>
            </p:cNvPr>
            <p:cNvSpPr/>
            <p:nvPr/>
          </p:nvSpPr>
          <p:spPr>
            <a:xfrm>
              <a:off x="3839414" y="2861452"/>
              <a:ext cx="2262979" cy="774003"/>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4" name="Line">
              <a:extLst>
                <a:ext uri="{FF2B5EF4-FFF2-40B4-BE49-F238E27FC236}">
                  <a16:creationId xmlns:a16="http://schemas.microsoft.com/office/drawing/2014/main" id="{8FBAE8C7-483D-491D-8E91-9499F3776262}"/>
                </a:ext>
              </a:extLst>
            </p:cNvPr>
            <p:cNvSpPr/>
            <p:nvPr/>
          </p:nvSpPr>
          <p:spPr>
            <a:xfrm flipH="1">
              <a:off x="6107524" y="1273131"/>
              <a:ext cx="0" cy="2360209"/>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5" name="Line">
              <a:extLst>
                <a:ext uri="{FF2B5EF4-FFF2-40B4-BE49-F238E27FC236}">
                  <a16:creationId xmlns:a16="http://schemas.microsoft.com/office/drawing/2014/main" id="{812C14DE-ABCA-492B-BD8D-F418978F133E}"/>
                </a:ext>
              </a:extLst>
            </p:cNvPr>
            <p:cNvSpPr/>
            <p:nvPr/>
          </p:nvSpPr>
          <p:spPr>
            <a:xfrm flipV="1">
              <a:off x="4603782" y="3652885"/>
              <a:ext cx="1490737" cy="1881463"/>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6" name="Line">
              <a:extLst>
                <a:ext uri="{FF2B5EF4-FFF2-40B4-BE49-F238E27FC236}">
                  <a16:creationId xmlns:a16="http://schemas.microsoft.com/office/drawing/2014/main" id="{1E4C1D88-3996-48E0-822C-67DB8F0E058B}"/>
                </a:ext>
              </a:extLst>
            </p:cNvPr>
            <p:cNvSpPr/>
            <p:nvPr/>
          </p:nvSpPr>
          <p:spPr>
            <a:xfrm flipH="1">
              <a:off x="6103986" y="2730893"/>
              <a:ext cx="2197436" cy="912106"/>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7" name="Line">
              <a:extLst>
                <a:ext uri="{FF2B5EF4-FFF2-40B4-BE49-F238E27FC236}">
                  <a16:creationId xmlns:a16="http://schemas.microsoft.com/office/drawing/2014/main" id="{56192482-1458-49CD-8D26-D369B20BEF4B}"/>
                </a:ext>
              </a:extLst>
            </p:cNvPr>
            <p:cNvSpPr/>
            <p:nvPr/>
          </p:nvSpPr>
          <p:spPr>
            <a:xfrm flipH="1" flipV="1">
              <a:off x="6109638" y="3635768"/>
              <a:ext cx="1490736" cy="1881463"/>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grpSp>
      <p:grpSp>
        <p:nvGrpSpPr>
          <p:cNvPr id="36" name="Групувати 6">
            <a:extLst>
              <a:ext uri="{FF2B5EF4-FFF2-40B4-BE49-F238E27FC236}">
                <a16:creationId xmlns:a16="http://schemas.microsoft.com/office/drawing/2014/main" id="{6E72A8CF-CFE9-4FD9-A8DE-F9E6E10BA8AA}"/>
              </a:ext>
            </a:extLst>
          </p:cNvPr>
          <p:cNvGrpSpPr/>
          <p:nvPr/>
        </p:nvGrpSpPr>
        <p:grpSpPr>
          <a:xfrm rot="20827097">
            <a:off x="9487051" y="1244516"/>
            <a:ext cx="2419023" cy="845556"/>
            <a:chOff x="9903910" y="2256420"/>
            <a:chExt cx="2419023" cy="845556"/>
          </a:xfrm>
        </p:grpSpPr>
        <p:sp>
          <p:nvSpPr>
            <p:cNvPr id="37" name="Прямокутник 177">
              <a:extLst>
                <a:ext uri="{FF2B5EF4-FFF2-40B4-BE49-F238E27FC236}">
                  <a16:creationId xmlns:a16="http://schemas.microsoft.com/office/drawing/2014/main" id="{7905B961-B6C8-8C6D-1ED4-7BB1EEA4AECA}"/>
                </a:ext>
              </a:extLst>
            </p:cNvPr>
            <p:cNvSpPr/>
            <p:nvPr/>
          </p:nvSpPr>
          <p:spPr>
            <a:xfrm>
              <a:off x="10807700" y="2456196"/>
              <a:ext cx="1515233" cy="49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uk-UA" sz="1400" dirty="0">
                  <a:solidFill>
                    <a:schemeClr val="tx1"/>
                  </a:solidFill>
                  <a:latin typeface="+mj-lt"/>
                </a:rPr>
                <a:t>Це до чого відноситься?</a:t>
              </a:r>
            </a:p>
          </p:txBody>
        </p:sp>
        <p:sp>
          <p:nvSpPr>
            <p:cNvPr id="38" name="Овал 37">
              <a:extLst>
                <a:ext uri="{FF2B5EF4-FFF2-40B4-BE49-F238E27FC236}">
                  <a16:creationId xmlns:a16="http://schemas.microsoft.com/office/drawing/2014/main" id="{2CD3E8C8-E023-A55C-BDCA-67AFBEF122D0}"/>
                </a:ext>
              </a:extLst>
            </p:cNvPr>
            <p:cNvSpPr/>
            <p:nvPr/>
          </p:nvSpPr>
          <p:spPr>
            <a:xfrm>
              <a:off x="9903910" y="2256420"/>
              <a:ext cx="845556" cy="84555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pic>
          <p:nvPicPr>
            <p:cNvPr id="39" name="Picture 2" descr="Backhand Index Pointing Left on Apple iOS 14.2">
              <a:extLst>
                <a:ext uri="{FF2B5EF4-FFF2-40B4-BE49-F238E27FC236}">
                  <a16:creationId xmlns:a16="http://schemas.microsoft.com/office/drawing/2014/main" id="{DC1CF36F-9D1A-B4BE-7D17-FB4F4F2E98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17125" y="2289260"/>
              <a:ext cx="726905" cy="7269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Групувати 181">
            <a:extLst>
              <a:ext uri="{FF2B5EF4-FFF2-40B4-BE49-F238E27FC236}">
                <a16:creationId xmlns:a16="http://schemas.microsoft.com/office/drawing/2014/main" id="{739DEDCE-9CB5-3433-C212-1DA441B179A6}"/>
              </a:ext>
            </a:extLst>
          </p:cNvPr>
          <p:cNvGrpSpPr/>
          <p:nvPr/>
        </p:nvGrpSpPr>
        <p:grpSpPr>
          <a:xfrm rot="20764798" flipH="1">
            <a:off x="4442032" y="5380057"/>
            <a:ext cx="2419023" cy="845556"/>
            <a:chOff x="9903910" y="2256420"/>
            <a:chExt cx="2419023" cy="845556"/>
          </a:xfrm>
        </p:grpSpPr>
        <p:sp>
          <p:nvSpPr>
            <p:cNvPr id="41" name="Прямокутник 182">
              <a:extLst>
                <a:ext uri="{FF2B5EF4-FFF2-40B4-BE49-F238E27FC236}">
                  <a16:creationId xmlns:a16="http://schemas.microsoft.com/office/drawing/2014/main" id="{F006717B-C38B-BE25-C3DB-ADB32384A124}"/>
                </a:ext>
              </a:extLst>
            </p:cNvPr>
            <p:cNvSpPr/>
            <p:nvPr/>
          </p:nvSpPr>
          <p:spPr>
            <a:xfrm>
              <a:off x="10807700" y="2456196"/>
              <a:ext cx="1515233" cy="4914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r"/>
              <a:r>
                <a:rPr lang="uk-UA" sz="1400" dirty="0">
                  <a:solidFill>
                    <a:schemeClr val="tx1"/>
                  </a:solidFill>
                  <a:latin typeface="+mj-lt"/>
                </a:rPr>
                <a:t>А це?</a:t>
              </a:r>
            </a:p>
          </p:txBody>
        </p:sp>
        <p:sp>
          <p:nvSpPr>
            <p:cNvPr id="42" name="Овал 41">
              <a:extLst>
                <a:ext uri="{FF2B5EF4-FFF2-40B4-BE49-F238E27FC236}">
                  <a16:creationId xmlns:a16="http://schemas.microsoft.com/office/drawing/2014/main" id="{E4C013AB-77C9-9C2C-13DD-6F8DA22C1FCE}"/>
                </a:ext>
              </a:extLst>
            </p:cNvPr>
            <p:cNvSpPr/>
            <p:nvPr/>
          </p:nvSpPr>
          <p:spPr>
            <a:xfrm>
              <a:off x="9903910" y="2256420"/>
              <a:ext cx="845556" cy="84555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pic>
          <p:nvPicPr>
            <p:cNvPr id="43" name="Picture 2" descr="Backhand Index Pointing Left on Apple iOS 14.2">
              <a:extLst>
                <a:ext uri="{FF2B5EF4-FFF2-40B4-BE49-F238E27FC236}">
                  <a16:creationId xmlns:a16="http://schemas.microsoft.com/office/drawing/2014/main" id="{124C3A01-C1DF-4402-D112-34E112C79BE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17125" y="2289260"/>
              <a:ext cx="726905" cy="726905"/>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Овал 4">
            <a:extLst>
              <a:ext uri="{FF2B5EF4-FFF2-40B4-BE49-F238E27FC236}">
                <a16:creationId xmlns:a16="http://schemas.microsoft.com/office/drawing/2014/main" id="{F1C3D6C3-3997-CDDF-DCEF-8106648FC532}"/>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063381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2. Як будете </a:t>
            </a:r>
            <a:r>
              <a:rPr lang="ru-RU" dirty="0" err="1">
                <a:solidFill>
                  <a:schemeClr val="accent1"/>
                </a:solidFill>
              </a:rPr>
              <a:t>використовувати</a:t>
            </a:r>
            <a:endParaRPr lang="ru-RU" dirty="0">
              <a:solidFill>
                <a:schemeClr val="accent1"/>
              </a:solidFill>
            </a:endParaRPr>
          </a:p>
        </p:txBody>
      </p:sp>
      <p:grpSp>
        <p:nvGrpSpPr>
          <p:cNvPr id="12" name="Группа 11">
            <a:extLst>
              <a:ext uri="{FF2B5EF4-FFF2-40B4-BE49-F238E27FC236}">
                <a16:creationId xmlns:a16="http://schemas.microsoft.com/office/drawing/2014/main" id="{A5E78310-1F83-B1AE-5220-DDE413CD9DDC}"/>
              </a:ext>
            </a:extLst>
          </p:cNvPr>
          <p:cNvGrpSpPr/>
          <p:nvPr/>
        </p:nvGrpSpPr>
        <p:grpSpPr>
          <a:xfrm>
            <a:off x="814388" y="2133599"/>
            <a:ext cx="5283200" cy="4220575"/>
            <a:chOff x="814388" y="2133600"/>
            <a:chExt cx="3841557" cy="3068894"/>
          </a:xfrm>
        </p:grpSpPr>
        <p:pic>
          <p:nvPicPr>
            <p:cNvPr id="7" name="Рисунок 6">
              <a:extLst>
                <a:ext uri="{FF2B5EF4-FFF2-40B4-BE49-F238E27FC236}">
                  <a16:creationId xmlns:a16="http://schemas.microsoft.com/office/drawing/2014/main" id="{D63E3C91-CF8D-5DEC-6CCC-F1F4085E5A09}"/>
                </a:ext>
              </a:extLst>
            </p:cNvPr>
            <p:cNvPicPr>
              <a:picLocks noChangeAspect="1"/>
            </p:cNvPicPr>
            <p:nvPr/>
          </p:nvPicPr>
          <p:blipFill>
            <a:blip r:embed="rId5"/>
            <a:stretch>
              <a:fillRect/>
            </a:stretch>
          </p:blipFill>
          <p:spPr>
            <a:xfrm>
              <a:off x="814388" y="2133600"/>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8" name="Прямокутник: округлені кути 12">
              <a:extLst>
                <a:ext uri="{FF2B5EF4-FFF2-40B4-BE49-F238E27FC236}">
                  <a16:creationId xmlns:a16="http://schemas.microsoft.com/office/drawing/2014/main" id="{76EF9467-CFDD-8DDD-8554-CD48D496D508}"/>
                </a:ext>
              </a:extLst>
            </p:cNvPr>
            <p:cNvSpPr/>
            <p:nvPr/>
          </p:nvSpPr>
          <p:spPr>
            <a:xfrm>
              <a:off x="1136353" y="4644276"/>
              <a:ext cx="3196069" cy="55821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spcAft>
                  <a:spcPts val="1200"/>
                </a:spcAft>
              </a:pPr>
              <a:r>
                <a:rPr lang="uk-UA" dirty="0">
                  <a:solidFill>
                    <a:schemeClr val="tx1"/>
                  </a:solidFill>
                  <a:latin typeface="+mj-lt"/>
                </a:rPr>
                <a:t>Щоб допомагала пояснювати</a:t>
              </a:r>
            </a:p>
          </p:txBody>
        </p:sp>
      </p:grpSp>
    </p:spTree>
    <p:extLst>
      <p:ext uri="{BB962C8B-B14F-4D97-AF65-F5344CB8AC3E}">
        <p14:creationId xmlns:p14="http://schemas.microsoft.com/office/powerpoint/2010/main" val="31785368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Об'єкт 50" hidden="1">
            <a:extLst>
              <a:ext uri="{FF2B5EF4-FFF2-40B4-BE49-F238E27FC236}">
                <a16:creationId xmlns:a16="http://schemas.microsoft.com/office/drawing/2014/main" id="{8F98A7DC-354A-419D-AB5D-D5841234C1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1" name="Об'єкт 50" hidden="1">
                        <a:extLst>
                          <a:ext uri="{FF2B5EF4-FFF2-40B4-BE49-F238E27FC236}">
                            <a16:creationId xmlns:a16="http://schemas.microsoft.com/office/drawing/2014/main" id="{8F98A7DC-354A-419D-AB5D-D5841234C1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Місце для тексту 1">
            <a:extLst>
              <a:ext uri="{FF2B5EF4-FFF2-40B4-BE49-F238E27FC236}">
                <a16:creationId xmlns:a16="http://schemas.microsoft.com/office/drawing/2014/main" id="{9F0C88F4-5477-4DC3-A63D-F61AF30F9164}"/>
              </a:ext>
            </a:extLst>
          </p:cNvPr>
          <p:cNvSpPr>
            <a:spLocks noGrp="1"/>
          </p:cNvSpPr>
          <p:nvPr>
            <p:ph type="body" sz="quarter" idx="13"/>
          </p:nvPr>
        </p:nvSpPr>
        <p:spPr>
          <a:xfrm>
            <a:off x="515937" y="189401"/>
            <a:ext cx="11160126" cy="647212"/>
          </a:xfrm>
        </p:spPr>
        <p:txBody>
          <a:bodyPr/>
          <a:lstStyle/>
          <a:p>
            <a:r>
              <a:rPr lang="ru-RU" dirty="0">
                <a:solidFill>
                  <a:schemeClr val="tx1"/>
                </a:solidFill>
              </a:rPr>
              <a:t>У </a:t>
            </a:r>
            <a:r>
              <a:rPr lang="ru-RU" dirty="0" err="1">
                <a:solidFill>
                  <a:schemeClr val="tx1"/>
                </a:solidFill>
              </a:rPr>
              <a:t>регіоні</a:t>
            </a:r>
            <a:r>
              <a:rPr lang="ru-RU" dirty="0">
                <a:solidFill>
                  <a:schemeClr val="tx1"/>
                </a:solidFill>
              </a:rPr>
              <a:t> є ряд проблем, </a:t>
            </a:r>
            <a:r>
              <a:rPr lang="ru-RU" dirty="0" err="1">
                <a:solidFill>
                  <a:schemeClr val="tx1"/>
                </a:solidFill>
              </a:rPr>
              <a:t>які</a:t>
            </a:r>
            <a:r>
              <a:rPr lang="ru-RU" dirty="0">
                <a:solidFill>
                  <a:schemeClr val="tx1"/>
                </a:solidFill>
              </a:rPr>
              <a:t> </a:t>
            </a:r>
            <a:r>
              <a:rPr lang="ru-RU" dirty="0" err="1">
                <a:solidFill>
                  <a:schemeClr val="tx1"/>
                </a:solidFill>
              </a:rPr>
              <a:t>впливають</a:t>
            </a:r>
            <a:r>
              <a:rPr lang="ru-RU" dirty="0">
                <a:solidFill>
                  <a:schemeClr val="tx1"/>
                </a:solidFill>
              </a:rPr>
              <a:t> на </a:t>
            </a:r>
            <a:r>
              <a:rPr lang="ru-RU" dirty="0" err="1">
                <a:solidFill>
                  <a:schemeClr val="tx1"/>
                </a:solidFill>
              </a:rPr>
              <a:t>освоєння</a:t>
            </a:r>
            <a:r>
              <a:rPr lang="ru-RU" dirty="0">
                <a:solidFill>
                  <a:schemeClr val="tx1"/>
                </a:solidFill>
              </a:rPr>
              <a:t> </a:t>
            </a:r>
            <a:r>
              <a:rPr lang="ru-RU" dirty="0" err="1">
                <a:solidFill>
                  <a:schemeClr val="tx1"/>
                </a:solidFill>
              </a:rPr>
              <a:t>туристичного</a:t>
            </a:r>
            <a:r>
              <a:rPr lang="ru-RU" dirty="0">
                <a:solidFill>
                  <a:schemeClr val="tx1"/>
                </a:solidFill>
              </a:rPr>
              <a:t> </a:t>
            </a:r>
            <a:r>
              <a:rPr lang="ru-RU" dirty="0" err="1">
                <a:solidFill>
                  <a:schemeClr val="tx1"/>
                </a:solidFill>
              </a:rPr>
              <a:t>потенціалу</a:t>
            </a:r>
            <a:r>
              <a:rPr lang="ru-RU" dirty="0">
                <a:solidFill>
                  <a:schemeClr val="tx1"/>
                </a:solidFill>
              </a:rPr>
              <a:t>, </a:t>
            </a:r>
            <a:r>
              <a:rPr lang="ru-RU" dirty="0" err="1">
                <a:solidFill>
                  <a:schemeClr val="tx1"/>
                </a:solidFill>
              </a:rPr>
              <a:t>чи</a:t>
            </a:r>
            <a:r>
              <a:rPr lang="ru-RU" dirty="0">
                <a:solidFill>
                  <a:schemeClr val="tx1"/>
                </a:solidFill>
              </a:rPr>
              <a:t> є </a:t>
            </a:r>
            <a:r>
              <a:rPr lang="ru-RU" dirty="0" err="1">
                <a:solidFill>
                  <a:schemeClr val="tx1"/>
                </a:solidFill>
              </a:rPr>
              <a:t>наслідками</a:t>
            </a:r>
            <a:r>
              <a:rPr lang="ru-RU" dirty="0">
                <a:solidFill>
                  <a:schemeClr val="tx1"/>
                </a:solidFill>
              </a:rPr>
              <a:t> </a:t>
            </a:r>
            <a:r>
              <a:rPr lang="ru-RU" dirty="0" err="1">
                <a:solidFill>
                  <a:schemeClr val="tx1"/>
                </a:solidFill>
              </a:rPr>
              <a:t>його</a:t>
            </a:r>
            <a:r>
              <a:rPr lang="ru-RU" dirty="0">
                <a:solidFill>
                  <a:schemeClr val="tx1"/>
                </a:solidFill>
              </a:rPr>
              <a:t> </a:t>
            </a:r>
            <a:r>
              <a:rPr lang="ru-RU" dirty="0" err="1">
                <a:solidFill>
                  <a:schemeClr val="tx1"/>
                </a:solidFill>
              </a:rPr>
              <a:t>недовикористання</a:t>
            </a:r>
            <a:endParaRPr lang="ru-RU" dirty="0">
              <a:solidFill>
                <a:schemeClr val="tx1"/>
              </a:solidFill>
            </a:endParaRPr>
          </a:p>
        </p:txBody>
      </p:sp>
      <p:sp>
        <p:nvSpPr>
          <p:cNvPr id="20" name="TextBox 19">
            <a:extLst>
              <a:ext uri="{FF2B5EF4-FFF2-40B4-BE49-F238E27FC236}">
                <a16:creationId xmlns:a16="http://schemas.microsoft.com/office/drawing/2014/main" id="{A006B45B-A410-456E-9E41-B7930483564F}"/>
              </a:ext>
            </a:extLst>
          </p:cNvPr>
          <p:cNvSpPr txBox="1"/>
          <p:nvPr/>
        </p:nvSpPr>
        <p:spPr>
          <a:xfrm>
            <a:off x="6585857" y="1265868"/>
            <a:ext cx="5014820" cy="900000"/>
          </a:xfrm>
          <a:prstGeom prst="rect">
            <a:avLst/>
          </a:prstGeom>
          <a:noFill/>
        </p:spPr>
        <p:txBody>
          <a:bodyPr wrap="square" lIns="0" tIns="0" rIns="0" bIns="0" anchor="ctr">
            <a:noAutofit/>
          </a:bodyPr>
          <a:lstStyle/>
          <a:p>
            <a:pPr>
              <a:spcAft>
                <a:spcPts val="600"/>
              </a:spcAft>
            </a:pPr>
            <a:r>
              <a:rPr lang="uk-UA" sz="1400" b="0" i="0" u="none" strike="noStrike" dirty="0">
                <a:solidFill>
                  <a:srgbClr val="000000"/>
                </a:solidFill>
                <a:effectLst/>
              </a:rPr>
              <a:t>Рівень життя мешканців Півдня є низьким. Велика частка населення живе на межі бідності. До цього додаються вкрай складні умови для ведення бізнесу, нестача інфраструктури, погане врядування. </a:t>
            </a:r>
          </a:p>
        </p:txBody>
      </p:sp>
      <p:sp>
        <p:nvSpPr>
          <p:cNvPr id="21" name="TextBox 20">
            <a:extLst>
              <a:ext uri="{FF2B5EF4-FFF2-40B4-BE49-F238E27FC236}">
                <a16:creationId xmlns:a16="http://schemas.microsoft.com/office/drawing/2014/main" id="{57426932-EF68-44A9-A093-F4FC5EC11B0F}"/>
              </a:ext>
            </a:extLst>
          </p:cNvPr>
          <p:cNvSpPr txBox="1"/>
          <p:nvPr/>
        </p:nvSpPr>
        <p:spPr>
          <a:xfrm>
            <a:off x="6585857" y="3425628"/>
            <a:ext cx="5014820" cy="900000"/>
          </a:xfrm>
          <a:prstGeom prst="rect">
            <a:avLst/>
          </a:prstGeom>
          <a:noFill/>
        </p:spPr>
        <p:txBody>
          <a:bodyPr wrap="square" lIns="0" tIns="0" rIns="0" bIns="0" anchor="ctr">
            <a:noAutofit/>
          </a:bodyPr>
          <a:lstStyle/>
          <a:p>
            <a:pPr>
              <a:spcAft>
                <a:spcPts val="600"/>
              </a:spcAft>
            </a:pPr>
            <a:r>
              <a:rPr lang="uk-UA" sz="1400" b="0" i="0" u="none" strike="noStrike" dirty="0">
                <a:solidFill>
                  <a:srgbClr val="000000"/>
                </a:solidFill>
                <a:effectLst/>
              </a:rPr>
              <a:t>Яскраве культурне </a:t>
            </a:r>
            <a:r>
              <a:rPr lang="uk-UA" sz="1400" b="0" i="0" u="none" strike="noStrike" dirty="0" err="1">
                <a:solidFill>
                  <a:srgbClr val="000000"/>
                </a:solidFill>
                <a:effectLst/>
              </a:rPr>
              <a:t>різномаїття</a:t>
            </a:r>
            <a:r>
              <a:rPr lang="uk-UA" sz="1400" b="0" i="0" u="none" strike="noStrike" dirty="0">
                <a:solidFill>
                  <a:srgbClr val="000000"/>
                </a:solidFill>
                <a:effectLst/>
              </a:rPr>
              <a:t> регіону розчиняється у відсутності спільної платформи для реалізації культурних </a:t>
            </a:r>
            <a:r>
              <a:rPr lang="uk-UA" sz="1400" b="0" i="0" u="none" strike="noStrike" dirty="0" err="1">
                <a:solidFill>
                  <a:srgbClr val="000000"/>
                </a:solidFill>
                <a:effectLst/>
              </a:rPr>
              <a:t>активностей</a:t>
            </a:r>
            <a:r>
              <a:rPr lang="uk-UA" sz="1400" b="0" i="0" u="none" strike="noStrike" dirty="0">
                <a:solidFill>
                  <a:srgbClr val="000000"/>
                </a:solidFill>
                <a:effectLst/>
              </a:rPr>
              <a:t>, обміну досвідом, створення нових проєктів і продуктів.</a:t>
            </a:r>
          </a:p>
        </p:txBody>
      </p:sp>
      <p:sp>
        <p:nvSpPr>
          <p:cNvPr id="22" name="TextBox 21">
            <a:extLst>
              <a:ext uri="{FF2B5EF4-FFF2-40B4-BE49-F238E27FC236}">
                <a16:creationId xmlns:a16="http://schemas.microsoft.com/office/drawing/2014/main" id="{71AFC6F0-4DE6-4479-8E67-EEA95ED7241D}"/>
              </a:ext>
            </a:extLst>
          </p:cNvPr>
          <p:cNvSpPr txBox="1"/>
          <p:nvPr/>
        </p:nvSpPr>
        <p:spPr>
          <a:xfrm>
            <a:off x="6585857" y="5405388"/>
            <a:ext cx="5014820" cy="720000"/>
          </a:xfrm>
          <a:prstGeom prst="rect">
            <a:avLst/>
          </a:prstGeom>
          <a:noFill/>
        </p:spPr>
        <p:txBody>
          <a:bodyPr wrap="square" lIns="0" tIns="0" rIns="0" bIns="0" anchor="ctr">
            <a:noAutofit/>
          </a:bodyPr>
          <a:lstStyle/>
          <a:p>
            <a:pPr>
              <a:spcAft>
                <a:spcPts val="600"/>
              </a:spcAft>
            </a:pPr>
            <a:r>
              <a:rPr lang="ru-RU" sz="1400" b="0" i="0" u="none" strike="noStrike" dirty="0" err="1">
                <a:solidFill>
                  <a:srgbClr val="000000"/>
                </a:solidFill>
                <a:effectLst/>
              </a:rPr>
              <a:t>Засмічення</a:t>
            </a:r>
            <a:r>
              <a:rPr lang="ru-RU" sz="1400" b="0" i="0" u="none" strike="noStrike" dirty="0">
                <a:solidFill>
                  <a:srgbClr val="000000"/>
                </a:solidFill>
                <a:effectLst/>
              </a:rPr>
              <a:t> та </a:t>
            </a:r>
            <a:r>
              <a:rPr lang="ru-RU" sz="1400" b="0" i="0" u="none" strike="noStrike" dirty="0" err="1">
                <a:solidFill>
                  <a:srgbClr val="000000"/>
                </a:solidFill>
                <a:effectLst/>
              </a:rPr>
              <a:t>рукотворне</a:t>
            </a:r>
            <a:r>
              <a:rPr lang="ru-RU" sz="1400" b="0" i="0" u="none" strike="noStrike" dirty="0">
                <a:solidFill>
                  <a:srgbClr val="000000"/>
                </a:solidFill>
                <a:effectLst/>
              </a:rPr>
              <a:t> </a:t>
            </a:r>
            <a:r>
              <a:rPr lang="ru-RU" sz="1400" b="0" i="0" u="none" strike="noStrike" dirty="0" err="1">
                <a:solidFill>
                  <a:srgbClr val="000000"/>
                </a:solidFill>
                <a:effectLst/>
              </a:rPr>
              <a:t>знищення</a:t>
            </a:r>
            <a:r>
              <a:rPr lang="ru-RU" sz="1400" b="0" i="0" u="none" strike="noStrike" dirty="0">
                <a:solidFill>
                  <a:srgbClr val="000000"/>
                </a:solidFill>
                <a:effectLst/>
              </a:rPr>
              <a:t> </a:t>
            </a:r>
            <a:r>
              <a:rPr lang="ru-RU" sz="1400" b="0" i="0" u="none" strike="noStrike" dirty="0" err="1">
                <a:solidFill>
                  <a:srgbClr val="000000"/>
                </a:solidFill>
                <a:effectLst/>
              </a:rPr>
              <a:t>довкілля</a:t>
            </a:r>
            <a:r>
              <a:rPr lang="ru-RU" sz="1400" b="0" i="0" u="none" strike="noStrike" dirty="0">
                <a:solidFill>
                  <a:srgbClr val="000000"/>
                </a:solidFill>
                <a:effectLst/>
              </a:rPr>
              <a:t> негативно </a:t>
            </a:r>
            <a:r>
              <a:rPr lang="ru-RU" sz="1400" b="0" i="0" u="none" strike="noStrike" dirty="0" err="1">
                <a:solidFill>
                  <a:srgbClr val="000000"/>
                </a:solidFill>
                <a:effectLst/>
              </a:rPr>
              <a:t>впливають</a:t>
            </a:r>
            <a:r>
              <a:rPr lang="ru-RU" sz="1400" b="0" i="0" u="none" strike="noStrike" dirty="0">
                <a:solidFill>
                  <a:srgbClr val="000000"/>
                </a:solidFill>
                <a:effectLst/>
              </a:rPr>
              <a:t> на </a:t>
            </a:r>
            <a:r>
              <a:rPr lang="ru-RU" sz="1400" b="0" i="0" u="none" strike="noStrike" dirty="0" err="1">
                <a:solidFill>
                  <a:srgbClr val="000000"/>
                </a:solidFill>
                <a:effectLst/>
              </a:rPr>
              <a:t>здоров’я</a:t>
            </a:r>
            <a:r>
              <a:rPr lang="ru-RU" sz="1400" b="0" i="0" u="none" strike="noStrike" dirty="0">
                <a:solidFill>
                  <a:srgbClr val="000000"/>
                </a:solidFill>
                <a:effectLst/>
              </a:rPr>
              <a:t> </a:t>
            </a:r>
            <a:r>
              <a:rPr lang="ru-RU" sz="1400" b="0" i="0" u="none" strike="noStrike" dirty="0" err="1">
                <a:solidFill>
                  <a:srgbClr val="000000"/>
                </a:solidFill>
                <a:effectLst/>
              </a:rPr>
              <a:t>мешканців</a:t>
            </a:r>
            <a:r>
              <a:rPr lang="ru-RU" sz="1400" b="0" i="0" u="none" strike="noStrike" dirty="0">
                <a:solidFill>
                  <a:srgbClr val="000000"/>
                </a:solidFill>
                <a:effectLst/>
              </a:rPr>
              <a:t> і </a:t>
            </a:r>
            <a:r>
              <a:rPr lang="ru-RU" sz="1400" b="0" i="0" u="none" strike="noStrike" dirty="0" err="1">
                <a:solidFill>
                  <a:srgbClr val="000000"/>
                </a:solidFill>
                <a:effectLst/>
              </a:rPr>
              <a:t>туристичну</a:t>
            </a:r>
            <a:r>
              <a:rPr lang="ru-RU" sz="1400" b="0" i="0" u="none" strike="noStrike" dirty="0">
                <a:solidFill>
                  <a:srgbClr val="000000"/>
                </a:solidFill>
                <a:effectLst/>
              </a:rPr>
              <a:t> </a:t>
            </a:r>
            <a:r>
              <a:rPr lang="ru-RU" sz="1400" b="0" i="0" u="none" strike="noStrike" dirty="0" err="1">
                <a:solidFill>
                  <a:srgbClr val="000000"/>
                </a:solidFill>
                <a:effectLst/>
              </a:rPr>
              <a:t>привабливість</a:t>
            </a:r>
            <a:r>
              <a:rPr lang="ru-RU" sz="1400" b="0" i="0" u="none" strike="noStrike" dirty="0">
                <a:solidFill>
                  <a:srgbClr val="000000"/>
                </a:solidFill>
                <a:effectLst/>
              </a:rPr>
              <a:t> </a:t>
            </a:r>
            <a:r>
              <a:rPr lang="ru-RU" sz="1400" b="0" i="0" u="none" strike="noStrike" dirty="0" err="1">
                <a:solidFill>
                  <a:srgbClr val="000000"/>
                </a:solidFill>
                <a:effectLst/>
              </a:rPr>
              <a:t>регіону</a:t>
            </a:r>
            <a:r>
              <a:rPr lang="ru-RU" sz="1400" b="0" i="0" u="none" strike="noStrike" dirty="0">
                <a:solidFill>
                  <a:srgbClr val="000000"/>
                </a:solidFill>
                <a:effectLst/>
              </a:rPr>
              <a:t>. Треба </a:t>
            </a:r>
            <a:r>
              <a:rPr lang="ru-RU" sz="1400" b="0" i="0" u="none" strike="noStrike" dirty="0" err="1">
                <a:solidFill>
                  <a:srgbClr val="000000"/>
                </a:solidFill>
                <a:effectLst/>
              </a:rPr>
              <a:t>діяти</a:t>
            </a:r>
            <a:r>
              <a:rPr lang="ru-RU" sz="1400" b="0" i="0" u="none" strike="noStrike" dirty="0">
                <a:solidFill>
                  <a:srgbClr val="000000"/>
                </a:solidFill>
                <a:effectLst/>
              </a:rPr>
              <a:t> </a:t>
            </a:r>
            <a:r>
              <a:rPr lang="ru-RU" sz="1400" b="0" i="0" u="none" strike="noStrike" dirty="0" err="1">
                <a:solidFill>
                  <a:srgbClr val="000000"/>
                </a:solidFill>
                <a:effectLst/>
              </a:rPr>
              <a:t>негайно</a:t>
            </a:r>
            <a:r>
              <a:rPr lang="ru-RU" sz="1400" b="0" i="0" u="none" strike="noStrike" dirty="0">
                <a:solidFill>
                  <a:srgbClr val="000000"/>
                </a:solidFill>
                <a:effectLst/>
              </a:rPr>
              <a:t>. </a:t>
            </a:r>
          </a:p>
        </p:txBody>
      </p:sp>
      <p:sp>
        <p:nvSpPr>
          <p:cNvPr id="24" name="TextBox 23">
            <a:extLst>
              <a:ext uri="{FF2B5EF4-FFF2-40B4-BE49-F238E27FC236}">
                <a16:creationId xmlns:a16="http://schemas.microsoft.com/office/drawing/2014/main" id="{E217D68C-8F8E-4F58-91E1-C17AE5E654B0}"/>
              </a:ext>
            </a:extLst>
          </p:cNvPr>
          <p:cNvSpPr txBox="1"/>
          <p:nvPr/>
        </p:nvSpPr>
        <p:spPr>
          <a:xfrm>
            <a:off x="6585857" y="2435748"/>
            <a:ext cx="5014820" cy="720000"/>
          </a:xfrm>
          <a:prstGeom prst="rect">
            <a:avLst/>
          </a:prstGeom>
          <a:noFill/>
        </p:spPr>
        <p:txBody>
          <a:bodyPr wrap="square" lIns="0" tIns="0" rIns="0" bIns="0" anchor="ctr">
            <a:noAutofit/>
          </a:bodyPr>
          <a:lstStyle/>
          <a:p>
            <a:pPr>
              <a:spcAft>
                <a:spcPts val="600"/>
              </a:spcAft>
            </a:pPr>
            <a:r>
              <a:rPr lang="ru-RU" sz="1400" b="0" i="0" u="none" strike="noStrike" dirty="0">
                <a:solidFill>
                  <a:srgbClr val="000000"/>
                </a:solidFill>
                <a:effectLst/>
              </a:rPr>
              <a:t>Люди в </a:t>
            </a:r>
            <a:r>
              <a:rPr lang="ru-RU" sz="1400" b="0" i="0" u="none" strike="noStrike" dirty="0" err="1">
                <a:solidFill>
                  <a:srgbClr val="000000"/>
                </a:solidFill>
                <a:effectLst/>
              </a:rPr>
              <a:t>регіоні</a:t>
            </a:r>
            <a:r>
              <a:rPr lang="ru-RU" sz="1400" b="0" i="0" u="none" strike="noStrike" dirty="0">
                <a:solidFill>
                  <a:srgbClr val="000000"/>
                </a:solidFill>
                <a:effectLst/>
              </a:rPr>
              <a:t> </a:t>
            </a:r>
            <a:r>
              <a:rPr lang="ru-RU" sz="1400" b="0" i="0" u="none" strike="noStrike" dirty="0" err="1">
                <a:solidFill>
                  <a:srgbClr val="000000"/>
                </a:solidFill>
                <a:effectLst/>
              </a:rPr>
              <a:t>скаржаться</a:t>
            </a:r>
            <a:r>
              <a:rPr lang="ru-RU" sz="1400" b="0" i="0" u="none" strike="noStrike" dirty="0">
                <a:solidFill>
                  <a:srgbClr val="000000"/>
                </a:solidFill>
                <a:effectLst/>
              </a:rPr>
              <a:t> на </a:t>
            </a:r>
            <a:r>
              <a:rPr lang="ru-RU" sz="1400" b="0" i="0" u="none" strike="noStrike" dirty="0" err="1">
                <a:solidFill>
                  <a:srgbClr val="000000"/>
                </a:solidFill>
                <a:effectLst/>
              </a:rPr>
              <a:t>несправедливість</a:t>
            </a:r>
            <a:r>
              <a:rPr lang="ru-RU" sz="1400" b="0" i="0" u="none" strike="noStrike" dirty="0">
                <a:solidFill>
                  <a:srgbClr val="000000"/>
                </a:solidFill>
                <a:effectLst/>
              </a:rPr>
              <a:t> і </a:t>
            </a:r>
            <a:r>
              <a:rPr lang="ru-RU" sz="1400" b="0" i="0" u="none" strike="noStrike" dirty="0" err="1">
                <a:solidFill>
                  <a:srgbClr val="000000"/>
                </a:solidFill>
                <a:effectLst/>
              </a:rPr>
              <a:t>незахищеність</a:t>
            </a:r>
            <a:r>
              <a:rPr lang="ru-RU" sz="1400" b="0" i="0" u="none" strike="noStrike" dirty="0">
                <a:solidFill>
                  <a:srgbClr val="000000"/>
                </a:solidFill>
                <a:effectLst/>
              </a:rPr>
              <a:t>. </a:t>
            </a:r>
            <a:r>
              <a:rPr lang="ru-RU" sz="1400" b="0" i="0" u="none" strike="noStrike" dirty="0" err="1">
                <a:solidFill>
                  <a:srgbClr val="000000"/>
                </a:solidFill>
                <a:effectLst/>
              </a:rPr>
              <a:t>Цю</a:t>
            </a:r>
            <a:r>
              <a:rPr lang="ru-RU" sz="1400" b="0" i="0" u="none" strike="noStrike" dirty="0">
                <a:solidFill>
                  <a:srgbClr val="000000"/>
                </a:solidFill>
                <a:effectLst/>
              </a:rPr>
              <a:t> атмосферу </a:t>
            </a:r>
            <a:r>
              <a:rPr lang="ru-RU" sz="1400" b="0" i="0" u="none" strike="noStrike" dirty="0" err="1">
                <a:solidFill>
                  <a:srgbClr val="000000"/>
                </a:solidFill>
                <a:effectLst/>
              </a:rPr>
              <a:t>використовують</a:t>
            </a:r>
            <a:r>
              <a:rPr lang="ru-RU" sz="1400" b="0" i="0" u="none" strike="noStrike" dirty="0">
                <a:solidFill>
                  <a:srgbClr val="000000"/>
                </a:solidFill>
                <a:effectLst/>
              </a:rPr>
              <a:t> </a:t>
            </a:r>
            <a:r>
              <a:rPr lang="ru-RU" sz="1400" b="0" i="0" u="none" strike="noStrike" dirty="0" err="1">
                <a:solidFill>
                  <a:srgbClr val="000000"/>
                </a:solidFill>
                <a:effectLst/>
              </a:rPr>
              <a:t>опоненти</a:t>
            </a:r>
            <a:r>
              <a:rPr lang="ru-RU" sz="1400" b="0" i="0" u="none" strike="noStrike" dirty="0">
                <a:solidFill>
                  <a:srgbClr val="000000"/>
                </a:solidFill>
                <a:effectLst/>
              </a:rPr>
              <a:t> </a:t>
            </a:r>
            <a:r>
              <a:rPr lang="ru-RU" sz="1400" b="0" i="0" u="none" strike="noStrike" dirty="0" err="1">
                <a:solidFill>
                  <a:srgbClr val="000000"/>
                </a:solidFill>
                <a:effectLst/>
              </a:rPr>
              <a:t>влади</a:t>
            </a:r>
            <a:r>
              <a:rPr lang="ru-RU" sz="1400" b="0" i="0" u="none" strike="noStrike" dirty="0">
                <a:solidFill>
                  <a:srgbClr val="000000"/>
                </a:solidFill>
                <a:effectLst/>
              </a:rPr>
              <a:t> та </a:t>
            </a:r>
            <a:r>
              <a:rPr lang="ru-RU" sz="1400" b="0" i="0" u="none" strike="noStrike" dirty="0" err="1">
                <a:solidFill>
                  <a:srgbClr val="000000"/>
                </a:solidFill>
                <a:effectLst/>
              </a:rPr>
              <a:t>Росія</a:t>
            </a:r>
            <a:r>
              <a:rPr lang="ru-RU" sz="1400" b="0" i="0" u="none" strike="noStrike" dirty="0">
                <a:solidFill>
                  <a:srgbClr val="000000"/>
                </a:solidFill>
                <a:effectLst/>
              </a:rPr>
              <a:t> — для </a:t>
            </a:r>
            <a:r>
              <a:rPr lang="ru-RU" sz="1400" b="0" i="0" u="none" strike="noStrike" dirty="0" err="1">
                <a:solidFill>
                  <a:srgbClr val="000000"/>
                </a:solidFill>
                <a:effectLst/>
              </a:rPr>
              <a:t>нарощення</a:t>
            </a:r>
            <a:r>
              <a:rPr lang="ru-RU" sz="1400" b="0" i="0" u="none" strike="noStrike" dirty="0">
                <a:solidFill>
                  <a:srgbClr val="000000"/>
                </a:solidFill>
                <a:effectLst/>
              </a:rPr>
              <a:t> </a:t>
            </a:r>
            <a:r>
              <a:rPr lang="ru-RU" sz="1400" b="0" i="0" u="none" strike="noStrike" dirty="0" err="1">
                <a:solidFill>
                  <a:srgbClr val="000000"/>
                </a:solidFill>
                <a:effectLst/>
              </a:rPr>
              <a:t>свого</a:t>
            </a:r>
            <a:r>
              <a:rPr lang="ru-RU" sz="1400" b="0" i="0" u="none" strike="noStrike" dirty="0">
                <a:solidFill>
                  <a:srgbClr val="000000"/>
                </a:solidFill>
                <a:effectLst/>
              </a:rPr>
              <a:t> </a:t>
            </a:r>
            <a:r>
              <a:rPr lang="ru-RU" sz="1400" b="0" i="0" u="none" strike="noStrike" dirty="0" err="1">
                <a:solidFill>
                  <a:srgbClr val="000000"/>
                </a:solidFill>
                <a:effectLst/>
              </a:rPr>
              <a:t>впливу</a:t>
            </a:r>
            <a:r>
              <a:rPr lang="ru-RU" sz="1400" b="0" i="0" u="none" strike="noStrike" dirty="0">
                <a:solidFill>
                  <a:srgbClr val="000000"/>
                </a:solidFill>
                <a:effectLst/>
              </a:rPr>
              <a:t>.</a:t>
            </a:r>
          </a:p>
        </p:txBody>
      </p:sp>
      <p:sp>
        <p:nvSpPr>
          <p:cNvPr id="25" name="TextBox 24">
            <a:extLst>
              <a:ext uri="{FF2B5EF4-FFF2-40B4-BE49-F238E27FC236}">
                <a16:creationId xmlns:a16="http://schemas.microsoft.com/office/drawing/2014/main" id="{0831C1F6-112C-49D6-88C4-B01B86A8FEC9}"/>
              </a:ext>
            </a:extLst>
          </p:cNvPr>
          <p:cNvSpPr txBox="1"/>
          <p:nvPr/>
        </p:nvSpPr>
        <p:spPr>
          <a:xfrm>
            <a:off x="6585857" y="4595508"/>
            <a:ext cx="5014820" cy="540000"/>
          </a:xfrm>
          <a:prstGeom prst="rect">
            <a:avLst/>
          </a:prstGeom>
          <a:noFill/>
        </p:spPr>
        <p:txBody>
          <a:bodyPr wrap="square" lIns="0" tIns="0" rIns="0" bIns="0" anchor="ctr">
            <a:noAutofit/>
          </a:bodyPr>
          <a:lstStyle/>
          <a:p>
            <a:pPr>
              <a:spcAft>
                <a:spcPts val="600"/>
              </a:spcAft>
            </a:pPr>
            <a:r>
              <a:rPr lang="ru-RU" sz="1400" b="0" i="0" u="none" strike="noStrike" dirty="0" err="1">
                <a:solidFill>
                  <a:srgbClr val="000000"/>
                </a:solidFill>
                <a:effectLst/>
              </a:rPr>
              <a:t>Більшу</a:t>
            </a:r>
            <a:r>
              <a:rPr lang="ru-RU" sz="1400" b="0" i="0" u="none" strike="noStrike" dirty="0">
                <a:solidFill>
                  <a:srgbClr val="000000"/>
                </a:solidFill>
                <a:effectLst/>
              </a:rPr>
              <a:t> </a:t>
            </a:r>
            <a:r>
              <a:rPr lang="ru-RU" sz="1400" b="0" i="0" u="none" strike="noStrike" dirty="0" err="1">
                <a:solidFill>
                  <a:srgbClr val="000000"/>
                </a:solidFill>
                <a:effectLst/>
              </a:rPr>
              <a:t>частину</a:t>
            </a:r>
            <a:r>
              <a:rPr lang="ru-RU" sz="1400" b="0" i="0" u="none" strike="noStrike" dirty="0">
                <a:solidFill>
                  <a:srgbClr val="000000"/>
                </a:solidFill>
                <a:effectLst/>
              </a:rPr>
              <a:t> часу погода в </a:t>
            </a:r>
            <a:r>
              <a:rPr lang="ru-RU" sz="1400" b="0" i="0" u="none" strike="noStrike" dirty="0" err="1">
                <a:solidFill>
                  <a:srgbClr val="000000"/>
                </a:solidFill>
                <a:effectLst/>
              </a:rPr>
              <a:t>регіоні</a:t>
            </a:r>
            <a:r>
              <a:rPr lang="ru-RU" sz="1400" b="0" i="0" u="none" strike="noStrike" dirty="0">
                <a:solidFill>
                  <a:srgbClr val="000000"/>
                </a:solidFill>
                <a:effectLst/>
              </a:rPr>
              <a:t> є </a:t>
            </a:r>
            <a:r>
              <a:rPr lang="ru-RU" sz="1400" b="0" i="0" u="none" strike="noStrike" dirty="0" err="1">
                <a:solidFill>
                  <a:srgbClr val="000000"/>
                </a:solidFill>
                <a:effectLst/>
              </a:rPr>
              <a:t>непривітною</a:t>
            </a:r>
            <a:r>
              <a:rPr lang="ru-RU" sz="1400" b="0" i="0" u="none" strike="noStrike" dirty="0">
                <a:solidFill>
                  <a:srgbClr val="000000"/>
                </a:solidFill>
                <a:effectLst/>
              </a:rPr>
              <a:t>: </a:t>
            </a:r>
            <a:r>
              <a:rPr lang="ru-RU" sz="1400" b="0" i="0" u="none" strike="noStrike" dirty="0" err="1">
                <a:solidFill>
                  <a:srgbClr val="000000"/>
                </a:solidFill>
                <a:effectLst/>
              </a:rPr>
              <a:t>її</a:t>
            </a:r>
            <a:r>
              <a:rPr lang="ru-RU" sz="1400" b="0" i="0" u="none" strike="noStrike" dirty="0">
                <a:solidFill>
                  <a:srgbClr val="000000"/>
                </a:solidFill>
                <a:effectLst/>
              </a:rPr>
              <a:t> «</a:t>
            </a:r>
            <a:r>
              <a:rPr lang="ru-RU" sz="1400" b="0" i="0" u="none" strike="noStrike" dirty="0" err="1">
                <a:solidFill>
                  <a:srgbClr val="000000"/>
                </a:solidFill>
                <a:effectLst/>
              </a:rPr>
              <a:t>лихоманить</a:t>
            </a:r>
            <a:r>
              <a:rPr lang="ru-RU" sz="1400" b="0" i="0" u="none" strike="noStrike" dirty="0">
                <a:solidFill>
                  <a:srgbClr val="000000"/>
                </a:solidFill>
                <a:effectLst/>
              </a:rPr>
              <a:t>» </a:t>
            </a:r>
            <a:r>
              <a:rPr lang="ru-RU" sz="1400" b="0" i="0" u="none" strike="noStrike" dirty="0" err="1">
                <a:solidFill>
                  <a:srgbClr val="000000"/>
                </a:solidFill>
                <a:effectLst/>
              </a:rPr>
              <a:t>від</a:t>
            </a:r>
            <a:r>
              <a:rPr lang="ru-RU" sz="1400" b="0" i="0" u="none" strike="noStrike" dirty="0">
                <a:solidFill>
                  <a:srgbClr val="000000"/>
                </a:solidFill>
                <a:effectLst/>
              </a:rPr>
              <a:t> сильного холоду до </a:t>
            </a:r>
            <a:r>
              <a:rPr lang="ru-RU" sz="1400" b="0" i="0" u="none" strike="noStrike" dirty="0" err="1">
                <a:solidFill>
                  <a:srgbClr val="000000"/>
                </a:solidFill>
                <a:effectLst/>
              </a:rPr>
              <a:t>виснажливих</a:t>
            </a:r>
            <a:r>
              <a:rPr lang="ru-RU" sz="1400" b="0" i="0" u="none" strike="noStrike" dirty="0">
                <a:solidFill>
                  <a:srgbClr val="000000"/>
                </a:solidFill>
                <a:effectLst/>
              </a:rPr>
              <a:t> </a:t>
            </a:r>
            <a:r>
              <a:rPr lang="ru-RU" sz="1400" b="0" i="0" u="none" strike="noStrike" dirty="0" err="1">
                <a:solidFill>
                  <a:srgbClr val="000000"/>
                </a:solidFill>
                <a:effectLst/>
              </a:rPr>
              <a:t>посух</a:t>
            </a:r>
            <a:r>
              <a:rPr lang="ru-RU" sz="1400" b="0" i="0" u="none" strike="noStrike" dirty="0">
                <a:solidFill>
                  <a:srgbClr val="000000"/>
                </a:solidFill>
                <a:effectLst/>
              </a:rPr>
              <a:t>. </a:t>
            </a:r>
          </a:p>
        </p:txBody>
      </p:sp>
      <p:sp>
        <p:nvSpPr>
          <p:cNvPr id="8" name="Соціально- економічний">
            <a:extLst>
              <a:ext uri="{FF2B5EF4-FFF2-40B4-BE49-F238E27FC236}">
                <a16:creationId xmlns:a16="http://schemas.microsoft.com/office/drawing/2014/main" id="{84D50085-11E9-4685-B8D0-6E91BD260BA3}"/>
              </a:ext>
            </a:extLst>
          </p:cNvPr>
          <p:cNvSpPr txBox="1"/>
          <p:nvPr/>
        </p:nvSpPr>
        <p:spPr>
          <a:xfrm>
            <a:off x="1429010" y="2393676"/>
            <a:ext cx="1357951" cy="46651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p>
            <a:pPr algn="ctr" defTabSz="457200">
              <a:lnSpc>
                <a:spcPct val="110000"/>
              </a:lnSpc>
              <a:defRPr sz="3500" spc="35">
                <a:solidFill>
                  <a:srgbClr val="000000"/>
                </a:solidFill>
                <a:latin typeface="e-Ukraine Regular"/>
                <a:ea typeface="e-Ukraine Regular"/>
                <a:cs typeface="e-Ukraine Regular"/>
                <a:sym typeface="e-Ukraine Regular"/>
              </a:defRPr>
            </a:pPr>
            <a:r>
              <a:rPr sz="1200" dirty="0" err="1">
                <a:latin typeface="+mj-lt"/>
              </a:rPr>
              <a:t>Соціально</a:t>
            </a:r>
            <a:r>
              <a:rPr sz="1200" dirty="0">
                <a:latin typeface="+mj-lt"/>
              </a:rPr>
              <a:t>-</a:t>
            </a:r>
            <a:br>
              <a:rPr sz="1200" dirty="0">
                <a:latin typeface="+mj-lt"/>
              </a:rPr>
            </a:br>
            <a:r>
              <a:rPr sz="1200" dirty="0" err="1">
                <a:latin typeface="+mj-lt"/>
              </a:rPr>
              <a:t>економічний</a:t>
            </a:r>
            <a:r>
              <a:rPr sz="1200" dirty="0">
                <a:latin typeface="+mj-lt"/>
              </a:rPr>
              <a:t> </a:t>
            </a:r>
          </a:p>
        </p:txBody>
      </p:sp>
      <p:sp>
        <p:nvSpPr>
          <p:cNvPr id="9" name="Культурний">
            <a:extLst>
              <a:ext uri="{FF2B5EF4-FFF2-40B4-BE49-F238E27FC236}">
                <a16:creationId xmlns:a16="http://schemas.microsoft.com/office/drawing/2014/main" id="{23BC2249-6601-4150-8923-A4571B0918FB}"/>
              </a:ext>
            </a:extLst>
          </p:cNvPr>
          <p:cNvSpPr txBox="1"/>
          <p:nvPr/>
        </p:nvSpPr>
        <p:spPr>
          <a:xfrm>
            <a:off x="905277" y="4058372"/>
            <a:ext cx="1313144" cy="26696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a:latin typeface="+mj-lt"/>
              </a:rPr>
              <a:t>Культурний</a:t>
            </a:r>
          </a:p>
        </p:txBody>
      </p:sp>
      <p:sp>
        <p:nvSpPr>
          <p:cNvPr id="10" name="Політичний">
            <a:extLst>
              <a:ext uri="{FF2B5EF4-FFF2-40B4-BE49-F238E27FC236}">
                <a16:creationId xmlns:a16="http://schemas.microsoft.com/office/drawing/2014/main" id="{BC76ABF2-CB53-40D3-A9FF-CE893D02AA21}"/>
              </a:ext>
            </a:extLst>
          </p:cNvPr>
          <p:cNvSpPr txBox="1"/>
          <p:nvPr/>
        </p:nvSpPr>
        <p:spPr>
          <a:xfrm>
            <a:off x="3141703" y="2504453"/>
            <a:ext cx="1504000" cy="2449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a:latin typeface="+mj-lt"/>
              </a:rPr>
              <a:t>Політичний</a:t>
            </a:r>
          </a:p>
        </p:txBody>
      </p:sp>
      <p:sp>
        <p:nvSpPr>
          <p:cNvPr id="11" name="Кліматичний">
            <a:extLst>
              <a:ext uri="{FF2B5EF4-FFF2-40B4-BE49-F238E27FC236}">
                <a16:creationId xmlns:a16="http://schemas.microsoft.com/office/drawing/2014/main" id="{55E2DA37-2628-4B0F-9C3D-637700FE27E1}"/>
              </a:ext>
            </a:extLst>
          </p:cNvPr>
          <p:cNvSpPr txBox="1"/>
          <p:nvPr/>
        </p:nvSpPr>
        <p:spPr>
          <a:xfrm>
            <a:off x="3703579" y="4069370"/>
            <a:ext cx="1508287" cy="2449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dirty="0" err="1">
                <a:latin typeface="+mj-lt"/>
              </a:rPr>
              <a:t>Кліматичний</a:t>
            </a:r>
            <a:endParaRPr sz="1200" dirty="0">
              <a:latin typeface="+mj-lt"/>
            </a:endParaRPr>
          </a:p>
        </p:txBody>
      </p:sp>
      <p:sp>
        <p:nvSpPr>
          <p:cNvPr id="12" name="Екологічний">
            <a:extLst>
              <a:ext uri="{FF2B5EF4-FFF2-40B4-BE49-F238E27FC236}">
                <a16:creationId xmlns:a16="http://schemas.microsoft.com/office/drawing/2014/main" id="{5D81118E-90CF-4294-BC4C-3CF09C559534}"/>
              </a:ext>
            </a:extLst>
          </p:cNvPr>
          <p:cNvSpPr txBox="1"/>
          <p:nvPr/>
        </p:nvSpPr>
        <p:spPr>
          <a:xfrm>
            <a:off x="2229779" y="5041368"/>
            <a:ext cx="1599887" cy="24496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noAutofit/>
          </a:bodyPr>
          <a:lstStyle>
            <a:lvl1pPr defTabSz="457200">
              <a:lnSpc>
                <a:spcPct val="110000"/>
              </a:lnSpc>
              <a:defRPr sz="3500" spc="35">
                <a:solidFill>
                  <a:srgbClr val="000000"/>
                </a:solidFill>
                <a:latin typeface="e-Ukraine Regular"/>
                <a:ea typeface="e-Ukraine Regular"/>
                <a:cs typeface="e-Ukraine Regular"/>
                <a:sym typeface="e-Ukraine Regular"/>
              </a:defRPr>
            </a:lvl1pPr>
          </a:lstStyle>
          <a:p>
            <a:pPr algn="ctr"/>
            <a:r>
              <a:rPr sz="1200" dirty="0" err="1">
                <a:latin typeface="+mj-lt"/>
              </a:rPr>
              <a:t>Екологічний</a:t>
            </a:r>
            <a:endParaRPr sz="1200" dirty="0">
              <a:latin typeface="+mj-lt"/>
            </a:endParaRPr>
          </a:p>
        </p:txBody>
      </p:sp>
      <p:grpSp>
        <p:nvGrpSpPr>
          <p:cNvPr id="3" name="Групувати 2">
            <a:extLst>
              <a:ext uri="{FF2B5EF4-FFF2-40B4-BE49-F238E27FC236}">
                <a16:creationId xmlns:a16="http://schemas.microsoft.com/office/drawing/2014/main" id="{87D3522B-AFA6-45A7-9706-250AB17CA259}"/>
              </a:ext>
            </a:extLst>
          </p:cNvPr>
          <p:cNvGrpSpPr/>
          <p:nvPr/>
        </p:nvGrpSpPr>
        <p:grpSpPr>
          <a:xfrm>
            <a:off x="714559" y="1518279"/>
            <a:ext cx="4630326" cy="4642004"/>
            <a:chOff x="3712032" y="1273131"/>
            <a:chExt cx="4767936" cy="4779961"/>
          </a:xfrm>
        </p:grpSpPr>
        <p:sp>
          <p:nvSpPr>
            <p:cNvPr id="7" name="Circle">
              <a:extLst>
                <a:ext uri="{FF2B5EF4-FFF2-40B4-BE49-F238E27FC236}">
                  <a16:creationId xmlns:a16="http://schemas.microsoft.com/office/drawing/2014/main" id="{2C42D07C-9845-44D3-A6DD-F5F20007BEEF}"/>
                </a:ext>
              </a:extLst>
            </p:cNvPr>
            <p:cNvSpPr/>
            <p:nvPr/>
          </p:nvSpPr>
          <p:spPr>
            <a:xfrm>
              <a:off x="3712032" y="1285156"/>
              <a:ext cx="4767936" cy="4767936"/>
            </a:xfrm>
            <a:prstGeom prst="ellips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dirty="0"/>
            </a:p>
          </p:txBody>
        </p:sp>
        <p:sp>
          <p:nvSpPr>
            <p:cNvPr id="13" name="Line">
              <a:extLst>
                <a:ext uri="{FF2B5EF4-FFF2-40B4-BE49-F238E27FC236}">
                  <a16:creationId xmlns:a16="http://schemas.microsoft.com/office/drawing/2014/main" id="{ADA9482B-5C39-43BE-8100-89169FB22F3E}"/>
                </a:ext>
              </a:extLst>
            </p:cNvPr>
            <p:cNvSpPr/>
            <p:nvPr/>
          </p:nvSpPr>
          <p:spPr>
            <a:xfrm>
              <a:off x="3839414" y="2861452"/>
              <a:ext cx="2262979" cy="774003"/>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4" name="Line">
              <a:extLst>
                <a:ext uri="{FF2B5EF4-FFF2-40B4-BE49-F238E27FC236}">
                  <a16:creationId xmlns:a16="http://schemas.microsoft.com/office/drawing/2014/main" id="{8FBAE8C7-483D-491D-8E91-9499F3776262}"/>
                </a:ext>
              </a:extLst>
            </p:cNvPr>
            <p:cNvSpPr/>
            <p:nvPr/>
          </p:nvSpPr>
          <p:spPr>
            <a:xfrm flipH="1">
              <a:off x="6107524" y="1273131"/>
              <a:ext cx="0" cy="2360209"/>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5" name="Line">
              <a:extLst>
                <a:ext uri="{FF2B5EF4-FFF2-40B4-BE49-F238E27FC236}">
                  <a16:creationId xmlns:a16="http://schemas.microsoft.com/office/drawing/2014/main" id="{812C14DE-ABCA-492B-BD8D-F418978F133E}"/>
                </a:ext>
              </a:extLst>
            </p:cNvPr>
            <p:cNvSpPr/>
            <p:nvPr/>
          </p:nvSpPr>
          <p:spPr>
            <a:xfrm flipV="1">
              <a:off x="4603782" y="3652885"/>
              <a:ext cx="1490737" cy="1881463"/>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6" name="Line">
              <a:extLst>
                <a:ext uri="{FF2B5EF4-FFF2-40B4-BE49-F238E27FC236}">
                  <a16:creationId xmlns:a16="http://schemas.microsoft.com/office/drawing/2014/main" id="{1E4C1D88-3996-48E0-822C-67DB8F0E058B}"/>
                </a:ext>
              </a:extLst>
            </p:cNvPr>
            <p:cNvSpPr/>
            <p:nvPr/>
          </p:nvSpPr>
          <p:spPr>
            <a:xfrm flipH="1">
              <a:off x="6103986" y="2730893"/>
              <a:ext cx="2197436" cy="912106"/>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sp>
          <p:nvSpPr>
            <p:cNvPr id="17" name="Line">
              <a:extLst>
                <a:ext uri="{FF2B5EF4-FFF2-40B4-BE49-F238E27FC236}">
                  <a16:creationId xmlns:a16="http://schemas.microsoft.com/office/drawing/2014/main" id="{56192482-1458-49CD-8D26-D369B20BEF4B}"/>
                </a:ext>
              </a:extLst>
            </p:cNvPr>
            <p:cNvSpPr/>
            <p:nvPr/>
          </p:nvSpPr>
          <p:spPr>
            <a:xfrm flipH="1" flipV="1">
              <a:off x="6109638" y="3635768"/>
              <a:ext cx="1490736" cy="1881463"/>
            </a:xfrm>
            <a:prstGeom prst="line">
              <a:avLst/>
            </a:prstGeom>
            <a:noFill/>
            <a:ln w="38100" cap="flat">
              <a:solidFill>
                <a:schemeClr val="accent5"/>
              </a:solidFill>
              <a:prstDash val="solid"/>
              <a:miter lim="400000"/>
            </a:ln>
            <a:effectLst/>
          </p:spPr>
          <p:txBody>
            <a:bodyPr wrap="square" lIns="50800" tIns="50800" rIns="50800" bIns="50800" numCol="1" anchor="ctr">
              <a:noAutofit/>
            </a:bodyPr>
            <a:lstStyle/>
            <a:p>
              <a:pPr algn="ctr" defTabSz="457200">
                <a:lnSpc>
                  <a:spcPct val="110000"/>
                </a:lnSpc>
                <a:defRPr sz="4100">
                  <a:solidFill>
                    <a:srgbClr val="000000"/>
                  </a:solidFill>
                  <a:latin typeface="e-Ukraine Bold"/>
                  <a:ea typeface="e-Ukraine Bold"/>
                  <a:cs typeface="e-Ukraine Bold"/>
                  <a:sym typeface="e-Ukraine Bold"/>
                </a:defRPr>
              </a:pPr>
              <a:endParaRPr sz="1200"/>
            </a:p>
          </p:txBody>
        </p:sp>
      </p:grpSp>
      <p:pic>
        <p:nvPicPr>
          <p:cNvPr id="6" name="Графіка 5" descr="Contract with solid fill">
            <a:extLst>
              <a:ext uri="{FF2B5EF4-FFF2-40B4-BE49-F238E27FC236}">
                <a16:creationId xmlns:a16="http://schemas.microsoft.com/office/drawing/2014/main" id="{63D097BB-D3E1-4A78-8EE8-844EA7B9AE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84372" y="3187911"/>
            <a:ext cx="386027" cy="386027"/>
          </a:xfrm>
          <a:prstGeom prst="rect">
            <a:avLst/>
          </a:prstGeom>
        </p:spPr>
      </p:pic>
      <p:pic>
        <p:nvPicPr>
          <p:cNvPr id="19" name="Графіка 18" descr="Plant with solid fill">
            <a:extLst>
              <a:ext uri="{FF2B5EF4-FFF2-40B4-BE49-F238E27FC236}">
                <a16:creationId xmlns:a16="http://schemas.microsoft.com/office/drawing/2014/main" id="{7ED67880-97CE-466E-9EBA-2912C86A96B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12707" y="4053018"/>
            <a:ext cx="386027" cy="386027"/>
          </a:xfrm>
          <a:prstGeom prst="rect">
            <a:avLst/>
          </a:prstGeom>
        </p:spPr>
      </p:pic>
      <p:pic>
        <p:nvPicPr>
          <p:cNvPr id="27" name="Графіка 26" descr="Drama with solid fill">
            <a:extLst>
              <a:ext uri="{FF2B5EF4-FFF2-40B4-BE49-F238E27FC236}">
                <a16:creationId xmlns:a16="http://schemas.microsoft.com/office/drawing/2014/main" id="{B7887BEE-9BDC-44DE-8084-DF30CB1FF7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79305" y="3791735"/>
            <a:ext cx="386027" cy="386027"/>
          </a:xfrm>
          <a:prstGeom prst="rect">
            <a:avLst/>
          </a:prstGeom>
        </p:spPr>
      </p:pic>
      <p:pic>
        <p:nvPicPr>
          <p:cNvPr id="29" name="Графіка 28" descr="Coins with solid fill">
            <a:extLst>
              <a:ext uri="{FF2B5EF4-FFF2-40B4-BE49-F238E27FC236}">
                <a16:creationId xmlns:a16="http://schemas.microsoft.com/office/drawing/2014/main" id="{753FB23B-BAB5-4374-99DD-EF7D27A7BE3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524474" y="3192243"/>
            <a:ext cx="386027" cy="386027"/>
          </a:xfrm>
          <a:prstGeom prst="rect">
            <a:avLst/>
          </a:prstGeom>
        </p:spPr>
      </p:pic>
      <p:pic>
        <p:nvPicPr>
          <p:cNvPr id="31" name="Графіка 30" descr="Sun with solid fill">
            <a:extLst>
              <a:ext uri="{FF2B5EF4-FFF2-40B4-BE49-F238E27FC236}">
                <a16:creationId xmlns:a16="http://schemas.microsoft.com/office/drawing/2014/main" id="{4BA38E4C-8441-421F-A9FB-E983DD68EA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308071" y="3739912"/>
            <a:ext cx="386027" cy="386027"/>
          </a:xfrm>
          <a:prstGeom prst="rect">
            <a:avLst/>
          </a:prstGeom>
        </p:spPr>
      </p:pic>
      <p:pic>
        <p:nvPicPr>
          <p:cNvPr id="30" name="Графіка 29" descr="Contract with solid fill">
            <a:extLst>
              <a:ext uri="{FF2B5EF4-FFF2-40B4-BE49-F238E27FC236}">
                <a16:creationId xmlns:a16="http://schemas.microsoft.com/office/drawing/2014/main" id="{3ED8ED06-68F6-4E06-896F-3EC7ADEC892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6841" y="2577940"/>
            <a:ext cx="435617" cy="435617"/>
          </a:xfrm>
          <a:prstGeom prst="rect">
            <a:avLst/>
          </a:prstGeom>
        </p:spPr>
      </p:pic>
      <p:pic>
        <p:nvPicPr>
          <p:cNvPr id="32" name="Графіка 31" descr="Plant with solid fill">
            <a:extLst>
              <a:ext uri="{FF2B5EF4-FFF2-40B4-BE49-F238E27FC236}">
                <a16:creationId xmlns:a16="http://schemas.microsoft.com/office/drawing/2014/main" id="{C2B0FE3D-4876-4737-A716-0F27DCF3150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026841" y="5547580"/>
            <a:ext cx="435617" cy="435617"/>
          </a:xfrm>
          <a:prstGeom prst="rect">
            <a:avLst/>
          </a:prstGeom>
        </p:spPr>
      </p:pic>
      <p:pic>
        <p:nvPicPr>
          <p:cNvPr id="33" name="Графіка 32" descr="Drama with solid fill">
            <a:extLst>
              <a:ext uri="{FF2B5EF4-FFF2-40B4-BE49-F238E27FC236}">
                <a16:creationId xmlns:a16="http://schemas.microsoft.com/office/drawing/2014/main" id="{CCD3E482-859E-46A8-B53A-AA095F3FFE5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26841" y="3657820"/>
            <a:ext cx="435617" cy="435617"/>
          </a:xfrm>
          <a:prstGeom prst="rect">
            <a:avLst/>
          </a:prstGeom>
        </p:spPr>
      </p:pic>
      <p:pic>
        <p:nvPicPr>
          <p:cNvPr id="34" name="Графіка 33" descr="Coins with solid fill">
            <a:extLst>
              <a:ext uri="{FF2B5EF4-FFF2-40B4-BE49-F238E27FC236}">
                <a16:creationId xmlns:a16="http://schemas.microsoft.com/office/drawing/2014/main" id="{2A31AF64-56C6-458C-946E-9F3F76DC79D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026841" y="1498060"/>
            <a:ext cx="435617" cy="435617"/>
          </a:xfrm>
          <a:prstGeom prst="rect">
            <a:avLst/>
          </a:prstGeom>
        </p:spPr>
      </p:pic>
      <p:pic>
        <p:nvPicPr>
          <p:cNvPr id="35" name="Графіка 34" descr="Sun with solid fill">
            <a:extLst>
              <a:ext uri="{FF2B5EF4-FFF2-40B4-BE49-F238E27FC236}">
                <a16:creationId xmlns:a16="http://schemas.microsoft.com/office/drawing/2014/main" id="{98876A0E-7D97-4C20-9B08-C122174D577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026841" y="4647700"/>
            <a:ext cx="435617" cy="435617"/>
          </a:xfrm>
          <a:prstGeom prst="rect">
            <a:avLst/>
          </a:prstGeom>
        </p:spPr>
      </p:pic>
      <p:sp>
        <p:nvSpPr>
          <p:cNvPr id="4" name="Овал 3">
            <a:extLst>
              <a:ext uri="{FF2B5EF4-FFF2-40B4-BE49-F238E27FC236}">
                <a16:creationId xmlns:a16="http://schemas.microsoft.com/office/drawing/2014/main" id="{A9CC68F1-2758-375E-C2C2-64DB2BE6C21F}"/>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1313846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Об'єкт 25" hidden="1">
            <a:extLst>
              <a:ext uri="{FF2B5EF4-FFF2-40B4-BE49-F238E27FC236}">
                <a16:creationId xmlns:a16="http://schemas.microsoft.com/office/drawing/2014/main" id="{7FB29B9B-E137-4262-9A2D-845437BD86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6" name="Об'єкт 25" hidden="1">
                        <a:extLst>
                          <a:ext uri="{FF2B5EF4-FFF2-40B4-BE49-F238E27FC236}">
                            <a16:creationId xmlns:a16="http://schemas.microsoft.com/office/drawing/2014/main" id="{7FB29B9B-E137-4262-9A2D-845437BD8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Рисунок 3">
            <a:extLst>
              <a:ext uri="{FF2B5EF4-FFF2-40B4-BE49-F238E27FC236}">
                <a16:creationId xmlns:a16="http://schemas.microsoft.com/office/drawing/2014/main" id="{5B3E9FE6-8EC0-4325-8602-972C29C2FC62}"/>
              </a:ext>
            </a:extLst>
          </p:cNvPr>
          <p:cNvPicPr>
            <a:picLocks noChangeAspect="1"/>
          </p:cNvPicPr>
          <p:nvPr/>
        </p:nvPicPr>
        <p:blipFill>
          <a:blip r:embed="rId5"/>
          <a:stretch>
            <a:fillRect/>
          </a:stretch>
        </p:blipFill>
        <p:spPr>
          <a:xfrm>
            <a:off x="1776000" y="999985"/>
            <a:ext cx="8640000" cy="485803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30" name="Прямокутник 29">
            <a:extLst>
              <a:ext uri="{FF2B5EF4-FFF2-40B4-BE49-F238E27FC236}">
                <a16:creationId xmlns:a16="http://schemas.microsoft.com/office/drawing/2014/main" id="{38FC23DE-8CDA-4558-80D1-E74C1F71B7E7}"/>
              </a:ext>
            </a:extLst>
          </p:cNvPr>
          <p:cNvSpPr/>
          <p:nvPr/>
        </p:nvSpPr>
        <p:spPr>
          <a:xfrm>
            <a:off x="2651101" y="5306979"/>
            <a:ext cx="2927398"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це перший блок</a:t>
            </a:r>
            <a:endParaRPr lang="en-US" sz="1600" dirty="0">
              <a:solidFill>
                <a:schemeClr val="tx1"/>
              </a:solidFill>
              <a:latin typeface="+mj-lt"/>
            </a:endParaRPr>
          </a:p>
        </p:txBody>
      </p:sp>
      <p:pic>
        <p:nvPicPr>
          <p:cNvPr id="97" name="Picture 6" descr="Index Pointing Up on Apple iOS 14.2">
            <a:extLst>
              <a:ext uri="{FF2B5EF4-FFF2-40B4-BE49-F238E27FC236}">
                <a16:creationId xmlns:a16="http://schemas.microsoft.com/office/drawing/2014/main" id="{A0ACF027-E9D9-4260-8D2B-A5AF61D54A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54800" y="463940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98" name="Прямокутник 97">
            <a:extLst>
              <a:ext uri="{FF2B5EF4-FFF2-40B4-BE49-F238E27FC236}">
                <a16:creationId xmlns:a16="http://schemas.microsoft.com/office/drawing/2014/main" id="{E910475B-DD2B-4969-BF5A-9F1B52ADB6D9}"/>
              </a:ext>
            </a:extLst>
          </p:cNvPr>
          <p:cNvSpPr/>
          <p:nvPr/>
        </p:nvSpPr>
        <p:spPr>
          <a:xfrm>
            <a:off x="6453600" y="5306979"/>
            <a:ext cx="2927398"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solidFill>
                  <a:schemeClr val="tx1"/>
                </a:solidFill>
                <a:latin typeface="+mj-lt"/>
              </a:rPr>
              <a:t>це другий блок</a:t>
            </a:r>
            <a:endParaRPr lang="en-US" sz="1600" dirty="0">
              <a:solidFill>
                <a:schemeClr val="tx1"/>
              </a:solidFill>
              <a:latin typeface="+mj-lt"/>
            </a:endParaRPr>
          </a:p>
        </p:txBody>
      </p:sp>
      <p:sp>
        <p:nvSpPr>
          <p:cNvPr id="5" name="Овал 4">
            <a:extLst>
              <a:ext uri="{FF2B5EF4-FFF2-40B4-BE49-F238E27FC236}">
                <a16:creationId xmlns:a16="http://schemas.microsoft.com/office/drawing/2014/main" id="{59178BD9-572B-4966-A69F-D5A2E6D69D8C}"/>
              </a:ext>
            </a:extLst>
          </p:cNvPr>
          <p:cNvSpPr/>
          <p:nvPr/>
        </p:nvSpPr>
        <p:spPr>
          <a:xfrm>
            <a:off x="7823200" y="4470437"/>
            <a:ext cx="405290" cy="40529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a:p>
        </p:txBody>
      </p:sp>
      <p:pic>
        <p:nvPicPr>
          <p:cNvPr id="99" name="Picture 6" descr="Index Pointing Up on Apple iOS 14.2">
            <a:extLst>
              <a:ext uri="{FF2B5EF4-FFF2-40B4-BE49-F238E27FC236}">
                <a16:creationId xmlns:a16="http://schemas.microsoft.com/office/drawing/2014/main" id="{129114EF-F302-4E5C-A3CB-2D39652C3B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57299" y="4639400"/>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 name="Овал 1">
            <a:extLst>
              <a:ext uri="{FF2B5EF4-FFF2-40B4-BE49-F238E27FC236}">
                <a16:creationId xmlns:a16="http://schemas.microsoft.com/office/drawing/2014/main" id="{ADE07733-D185-22C5-62B3-1B718FE0DFA7}"/>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1496082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CF2BB424-F0DA-61D3-FABA-A7B73AAE46CF}"/>
              </a:ext>
            </a:extLst>
          </p:cNvPr>
          <p:cNvSpPr>
            <a:spLocks noGrp="1"/>
          </p:cNvSpPr>
          <p:nvPr>
            <p:ph type="body" sz="quarter" idx="10"/>
          </p:nvPr>
        </p:nvSpPr>
        <p:spPr/>
        <p:txBody>
          <a:bodyPr/>
          <a:lstStyle/>
          <a:p>
            <a:r>
              <a:rPr lang="uk-UA" dirty="0">
                <a:solidFill>
                  <a:schemeClr val="accent1"/>
                </a:solidFill>
              </a:rPr>
              <a:t>Однакові елементи на різних слайдах </a:t>
            </a:r>
            <a:r>
              <a:rPr lang="uk-UA" dirty="0">
                <a:solidFill>
                  <a:schemeClr val="accent5"/>
                </a:solidFill>
              </a:rPr>
              <a:t>повинні виглядати однаково</a:t>
            </a:r>
            <a:endParaRPr lang="ru-UA" dirty="0">
              <a:solidFill>
                <a:schemeClr val="accent5"/>
              </a:solidFill>
            </a:endParaRPr>
          </a:p>
        </p:txBody>
      </p:sp>
      <p:sp>
        <p:nvSpPr>
          <p:cNvPr id="3" name="Прямокутник 57">
            <a:extLst>
              <a:ext uri="{FF2B5EF4-FFF2-40B4-BE49-F238E27FC236}">
                <a16:creationId xmlns:a16="http://schemas.microsoft.com/office/drawing/2014/main" id="{F3C6123F-4964-DA33-14DB-642B103798D5}"/>
              </a:ext>
            </a:extLst>
          </p:cNvPr>
          <p:cNvSpPr/>
          <p:nvPr/>
        </p:nvSpPr>
        <p:spPr>
          <a:xfrm>
            <a:off x="1579506" y="2133600"/>
            <a:ext cx="945246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Всі</a:t>
            </a:r>
            <a:r>
              <a:rPr lang="ru-RU" sz="1800" dirty="0">
                <a:solidFill>
                  <a:schemeClr val="tx1"/>
                </a:solidFill>
                <a:ea typeface="Roboto Black" panose="02000000000000000000" pitchFamily="2" charset="0"/>
              </a:rPr>
              <a:t> заголовки в одному </a:t>
            </a:r>
            <a:r>
              <a:rPr lang="ru-RU" sz="1800" dirty="0" err="1">
                <a:solidFill>
                  <a:schemeClr val="tx1"/>
                </a:solidFill>
                <a:ea typeface="Roboto Black" panose="02000000000000000000" pitchFamily="2" charset="0"/>
              </a:rPr>
              <a:t>місці</a:t>
            </a:r>
            <a:r>
              <a:rPr lang="ru-RU" sz="1800" dirty="0">
                <a:solidFill>
                  <a:schemeClr val="tx1"/>
                </a:solidFill>
                <a:ea typeface="Roboto Black" panose="02000000000000000000" pitchFamily="2" charset="0"/>
              </a:rPr>
              <a:t> і одного </a:t>
            </a:r>
            <a:r>
              <a:rPr lang="ru-RU" sz="1800" dirty="0" err="1">
                <a:solidFill>
                  <a:schemeClr val="tx1"/>
                </a:solidFill>
                <a:ea typeface="Roboto Black" panose="02000000000000000000" pitchFamily="2" charset="0"/>
              </a:rPr>
              <a:t>розміру</a:t>
            </a:r>
            <a:endParaRPr lang="ru-RU" sz="1800" dirty="0">
              <a:solidFill>
                <a:schemeClr val="tx1"/>
              </a:solidFill>
              <a:ea typeface="Roboto Black" panose="02000000000000000000" pitchFamily="2" charset="0"/>
            </a:endParaRPr>
          </a:p>
        </p:txBody>
      </p:sp>
      <p:sp>
        <p:nvSpPr>
          <p:cNvPr id="5" name="Прямокутник: округлені кути 58">
            <a:extLst>
              <a:ext uri="{FF2B5EF4-FFF2-40B4-BE49-F238E27FC236}">
                <a16:creationId xmlns:a16="http://schemas.microsoft.com/office/drawing/2014/main" id="{D8348C4D-A4DA-21AD-B208-4507B46472C1}"/>
              </a:ext>
            </a:extLst>
          </p:cNvPr>
          <p:cNvSpPr/>
          <p:nvPr/>
        </p:nvSpPr>
        <p:spPr>
          <a:xfrm>
            <a:off x="814388" y="2133600"/>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1</a:t>
            </a:r>
          </a:p>
        </p:txBody>
      </p:sp>
      <p:sp>
        <p:nvSpPr>
          <p:cNvPr id="6" name="Прямокутник: округлені кути 59">
            <a:extLst>
              <a:ext uri="{FF2B5EF4-FFF2-40B4-BE49-F238E27FC236}">
                <a16:creationId xmlns:a16="http://schemas.microsoft.com/office/drawing/2014/main" id="{2846EF11-AFE3-782E-9073-D3A1C508712B}"/>
              </a:ext>
            </a:extLst>
          </p:cNvPr>
          <p:cNvSpPr/>
          <p:nvPr/>
        </p:nvSpPr>
        <p:spPr>
          <a:xfrm>
            <a:off x="814388" y="3004461"/>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2</a:t>
            </a:r>
          </a:p>
        </p:txBody>
      </p:sp>
      <p:sp>
        <p:nvSpPr>
          <p:cNvPr id="7" name="Прямокутник: округлені кути 60">
            <a:extLst>
              <a:ext uri="{FF2B5EF4-FFF2-40B4-BE49-F238E27FC236}">
                <a16:creationId xmlns:a16="http://schemas.microsoft.com/office/drawing/2014/main" id="{0F1D5CE1-BD27-41AB-DE33-96BAC026DCC3}"/>
              </a:ext>
            </a:extLst>
          </p:cNvPr>
          <p:cNvSpPr/>
          <p:nvPr/>
        </p:nvSpPr>
        <p:spPr>
          <a:xfrm>
            <a:off x="814388" y="3875322"/>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3</a:t>
            </a:r>
          </a:p>
        </p:txBody>
      </p:sp>
      <p:sp>
        <p:nvSpPr>
          <p:cNvPr id="8" name="Прямокутник: округлені кути 61">
            <a:extLst>
              <a:ext uri="{FF2B5EF4-FFF2-40B4-BE49-F238E27FC236}">
                <a16:creationId xmlns:a16="http://schemas.microsoft.com/office/drawing/2014/main" id="{53E90AB3-84B5-F6FD-D245-D1FD4C348CC5}"/>
              </a:ext>
            </a:extLst>
          </p:cNvPr>
          <p:cNvSpPr/>
          <p:nvPr/>
        </p:nvSpPr>
        <p:spPr>
          <a:xfrm>
            <a:off x="814388" y="4746182"/>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4</a:t>
            </a:r>
          </a:p>
        </p:txBody>
      </p:sp>
      <p:sp>
        <p:nvSpPr>
          <p:cNvPr id="9" name="Прямокутник 62">
            <a:extLst>
              <a:ext uri="{FF2B5EF4-FFF2-40B4-BE49-F238E27FC236}">
                <a16:creationId xmlns:a16="http://schemas.microsoft.com/office/drawing/2014/main" id="{F33D774A-A07A-E93D-8BC1-4BD4F4DE190A}"/>
              </a:ext>
            </a:extLst>
          </p:cNvPr>
          <p:cNvSpPr/>
          <p:nvPr/>
        </p:nvSpPr>
        <p:spPr>
          <a:xfrm>
            <a:off x="1579506" y="3004461"/>
            <a:ext cx="945246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800" dirty="0">
                <a:solidFill>
                  <a:schemeClr val="tx1"/>
                </a:solidFill>
                <a:ea typeface="Roboto Black" panose="02000000000000000000" pitchFamily="2" charset="0"/>
              </a:rPr>
              <a:t>Основний текст єдиного розміру</a:t>
            </a:r>
          </a:p>
        </p:txBody>
      </p:sp>
      <p:sp>
        <p:nvSpPr>
          <p:cNvPr id="10" name="Прямокутник 63">
            <a:extLst>
              <a:ext uri="{FF2B5EF4-FFF2-40B4-BE49-F238E27FC236}">
                <a16:creationId xmlns:a16="http://schemas.microsoft.com/office/drawing/2014/main" id="{2FEF6E28-1A06-BF2D-F396-ABDAD6EA87EB}"/>
              </a:ext>
            </a:extLst>
          </p:cNvPr>
          <p:cNvSpPr/>
          <p:nvPr/>
        </p:nvSpPr>
        <p:spPr>
          <a:xfrm>
            <a:off x="1579507" y="3875322"/>
            <a:ext cx="945246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Границі</a:t>
            </a:r>
            <a:r>
              <a:rPr lang="ru-RU" sz="1800" dirty="0">
                <a:solidFill>
                  <a:schemeClr val="tx1"/>
                </a:solidFill>
                <a:ea typeface="Roboto Black" panose="02000000000000000000" pitchFamily="2" charset="0"/>
              </a:rPr>
              <a:t> слайду </a:t>
            </a:r>
            <a:r>
              <a:rPr lang="ru-RU" sz="1800" dirty="0" err="1">
                <a:solidFill>
                  <a:schemeClr val="tx1"/>
                </a:solidFill>
                <a:ea typeface="Roboto Black" panose="02000000000000000000" pitchFamily="2" charset="0"/>
              </a:rPr>
              <a:t>однакові</a:t>
            </a:r>
            <a:r>
              <a:rPr lang="ru-RU" sz="1800" dirty="0">
                <a:solidFill>
                  <a:schemeClr val="tx1"/>
                </a:solidFill>
                <a:ea typeface="Roboto Black" panose="02000000000000000000" pitchFamily="2" charset="0"/>
              </a:rPr>
              <a:t> на </a:t>
            </a:r>
            <a:r>
              <a:rPr lang="ru-RU" sz="1800" dirty="0" err="1">
                <a:solidFill>
                  <a:schemeClr val="tx1"/>
                </a:solidFill>
                <a:ea typeface="Roboto Black" panose="02000000000000000000" pitchFamily="2" charset="0"/>
              </a:rPr>
              <a:t>всіх</a:t>
            </a:r>
            <a:r>
              <a:rPr lang="ru-RU" sz="1800" dirty="0">
                <a:solidFill>
                  <a:schemeClr val="tx1"/>
                </a:solidFill>
                <a:ea typeface="Roboto Black" panose="02000000000000000000" pitchFamily="2" charset="0"/>
              </a:rPr>
              <a:t> слайдах</a:t>
            </a:r>
          </a:p>
        </p:txBody>
      </p:sp>
      <p:sp>
        <p:nvSpPr>
          <p:cNvPr id="14" name="Прямокутник 64">
            <a:extLst>
              <a:ext uri="{FF2B5EF4-FFF2-40B4-BE49-F238E27FC236}">
                <a16:creationId xmlns:a16="http://schemas.microsoft.com/office/drawing/2014/main" id="{C57126D8-E2BF-7AAB-3EED-C51D1211AC48}"/>
              </a:ext>
            </a:extLst>
          </p:cNvPr>
          <p:cNvSpPr/>
          <p:nvPr/>
        </p:nvSpPr>
        <p:spPr>
          <a:xfrm>
            <a:off x="1579507" y="4746182"/>
            <a:ext cx="5008329"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ru-RU" sz="1800" dirty="0" err="1">
                <a:solidFill>
                  <a:schemeClr val="tx1"/>
                </a:solidFill>
                <a:ea typeface="Roboto Black" panose="02000000000000000000" pitchFamily="2" charset="0"/>
              </a:rPr>
              <a:t>Цифри</a:t>
            </a:r>
            <a:r>
              <a:rPr lang="ru-RU" sz="1800" dirty="0">
                <a:solidFill>
                  <a:schemeClr val="tx1"/>
                </a:solidFill>
                <a:ea typeface="Roboto Black" panose="02000000000000000000" pitchFamily="2" charset="0"/>
              </a:rPr>
              <a:t> та </a:t>
            </a:r>
            <a:r>
              <a:rPr lang="ru-RU" sz="1800" dirty="0" err="1">
                <a:solidFill>
                  <a:schemeClr val="tx1"/>
                </a:solidFill>
                <a:ea typeface="Roboto Black" panose="02000000000000000000" pitchFamily="2" charset="0"/>
              </a:rPr>
              <a:t>скорочення</a:t>
            </a:r>
            <a:r>
              <a:rPr lang="ru-RU" sz="1800" dirty="0">
                <a:solidFill>
                  <a:schemeClr val="tx1"/>
                </a:solidFill>
                <a:ea typeface="Roboto Black" panose="02000000000000000000" pitchFamily="2" charset="0"/>
              </a:rPr>
              <a:t> в </a:t>
            </a:r>
            <a:r>
              <a:rPr lang="ru-RU" sz="1800" dirty="0" err="1">
                <a:solidFill>
                  <a:schemeClr val="tx1"/>
                </a:solidFill>
                <a:ea typeface="Roboto Black" panose="02000000000000000000" pitchFamily="2" charset="0"/>
              </a:rPr>
              <a:t>однаковому</a:t>
            </a:r>
            <a:r>
              <a:rPr lang="ru-RU" sz="1800" dirty="0">
                <a:solidFill>
                  <a:schemeClr val="tx1"/>
                </a:solidFill>
                <a:ea typeface="Roboto Black" panose="02000000000000000000" pitchFamily="2" charset="0"/>
              </a:rPr>
              <a:t> </a:t>
            </a:r>
            <a:r>
              <a:rPr lang="ru-RU" sz="1800" dirty="0" err="1">
                <a:solidFill>
                  <a:schemeClr val="tx1"/>
                </a:solidFill>
                <a:ea typeface="Roboto Black" panose="02000000000000000000" pitchFamily="2" charset="0"/>
              </a:rPr>
              <a:t>форматі</a:t>
            </a:r>
            <a:r>
              <a:rPr lang="ru-RU" sz="1800" dirty="0">
                <a:solidFill>
                  <a:schemeClr val="tx1"/>
                </a:solidFill>
                <a:ea typeface="Roboto Black" panose="02000000000000000000" pitchFamily="2" charset="0"/>
              </a:rPr>
              <a:t> </a:t>
            </a:r>
            <a:r>
              <a:rPr lang="ru-RU" dirty="0">
                <a:solidFill>
                  <a:schemeClr val="tx1"/>
                </a:solidFill>
                <a:ea typeface="Roboto Black" panose="02000000000000000000" pitchFamily="2" charset="0"/>
              </a:rPr>
              <a:t>(</a:t>
            </a:r>
            <a:r>
              <a:rPr lang="ru-RU" dirty="0" err="1">
                <a:solidFill>
                  <a:schemeClr val="tx1"/>
                </a:solidFill>
                <a:ea typeface="Roboto Black" panose="02000000000000000000" pitchFamily="2" charset="0"/>
              </a:rPr>
              <a:t>або</a:t>
            </a:r>
            <a:r>
              <a:rPr lang="ru-RU" dirty="0">
                <a:solidFill>
                  <a:schemeClr val="tx1"/>
                </a:solidFill>
                <a:ea typeface="Roboto Black" panose="02000000000000000000" pitchFamily="2" charset="0"/>
              </a:rPr>
              <a:t> дол США </a:t>
            </a:r>
            <a:r>
              <a:rPr lang="ru-RU" dirty="0" err="1">
                <a:solidFill>
                  <a:schemeClr val="tx1"/>
                </a:solidFill>
                <a:ea typeface="Roboto Black" panose="02000000000000000000" pitchFamily="2" charset="0"/>
              </a:rPr>
              <a:t>або</a:t>
            </a:r>
            <a:r>
              <a:rPr lang="ru-RU" dirty="0">
                <a:solidFill>
                  <a:schemeClr val="tx1"/>
                </a:solidFill>
                <a:ea typeface="Roboto Black" panose="02000000000000000000" pitchFamily="2" charset="0"/>
              </a:rPr>
              <a:t> </a:t>
            </a:r>
            <a:r>
              <a:rPr lang="en-US" dirty="0">
                <a:solidFill>
                  <a:schemeClr val="tx1"/>
                </a:solidFill>
                <a:ea typeface="Roboto Black" panose="02000000000000000000" pitchFamily="2" charset="0"/>
              </a:rPr>
              <a:t>$ // </a:t>
            </a:r>
            <a:r>
              <a:rPr lang="uk-UA" dirty="0">
                <a:solidFill>
                  <a:schemeClr val="tx1"/>
                </a:solidFill>
                <a:ea typeface="Roboto Black" panose="02000000000000000000" pitchFamily="2" charset="0"/>
              </a:rPr>
              <a:t>або 1 927 або 1927)</a:t>
            </a:r>
            <a:endParaRPr lang="ru-RU" sz="1800" dirty="0">
              <a:solidFill>
                <a:schemeClr val="tx1"/>
              </a:solidFill>
              <a:ea typeface="Roboto Black" panose="02000000000000000000" pitchFamily="2" charset="0"/>
            </a:endParaRPr>
          </a:p>
        </p:txBody>
      </p:sp>
      <p:sp>
        <p:nvSpPr>
          <p:cNvPr id="39" name="Прямокутник: округлені кути 67">
            <a:extLst>
              <a:ext uri="{FF2B5EF4-FFF2-40B4-BE49-F238E27FC236}">
                <a16:creationId xmlns:a16="http://schemas.microsoft.com/office/drawing/2014/main" id="{DA0C7D47-2D2E-9E67-F006-698B8ED1DDB4}"/>
              </a:ext>
            </a:extLst>
          </p:cNvPr>
          <p:cNvSpPr/>
          <p:nvPr/>
        </p:nvSpPr>
        <p:spPr>
          <a:xfrm>
            <a:off x="814388" y="5617042"/>
            <a:ext cx="540000" cy="540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uk-UA" dirty="0">
                <a:latin typeface="+mj-lt"/>
              </a:rPr>
              <a:t>…</a:t>
            </a:r>
          </a:p>
        </p:txBody>
      </p:sp>
      <p:sp>
        <p:nvSpPr>
          <p:cNvPr id="40" name="Права фігурна дужка 22">
            <a:extLst>
              <a:ext uri="{FF2B5EF4-FFF2-40B4-BE49-F238E27FC236}">
                <a16:creationId xmlns:a16="http://schemas.microsoft.com/office/drawing/2014/main" id="{AB753310-6A01-5F51-91EC-FA7F1BF0715A}"/>
              </a:ext>
            </a:extLst>
          </p:cNvPr>
          <p:cNvSpPr/>
          <p:nvPr/>
        </p:nvSpPr>
        <p:spPr>
          <a:xfrm>
            <a:off x="7172326" y="2133600"/>
            <a:ext cx="257602" cy="2281722"/>
          </a:xfrm>
          <a:prstGeom prst="rightBrace">
            <a:avLst>
              <a:gd name="adj1" fmla="val 57634"/>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Прямокутник 68">
            <a:extLst>
              <a:ext uri="{FF2B5EF4-FFF2-40B4-BE49-F238E27FC236}">
                <a16:creationId xmlns:a16="http://schemas.microsoft.com/office/drawing/2014/main" id="{4F8BD1F4-1EE6-FED4-EFF6-2E8CD5FE47D2}"/>
              </a:ext>
            </a:extLst>
          </p:cNvPr>
          <p:cNvSpPr/>
          <p:nvPr/>
        </p:nvSpPr>
        <p:spPr>
          <a:xfrm>
            <a:off x="7832451" y="3004461"/>
            <a:ext cx="3026260"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uk-UA" sz="1800" dirty="0">
                <a:solidFill>
                  <a:schemeClr val="tx1"/>
                </a:solidFill>
                <a:latin typeface="+mj-lt"/>
                <a:ea typeface="Roboto Black" panose="02000000000000000000" pitchFamily="2" charset="0"/>
              </a:rPr>
              <a:t>Для цього робиться шаблон презентації</a:t>
            </a:r>
          </a:p>
        </p:txBody>
      </p:sp>
    </p:spTree>
    <p:extLst>
      <p:ext uri="{BB962C8B-B14F-4D97-AF65-F5344CB8AC3E}">
        <p14:creationId xmlns:p14="http://schemas.microsoft.com/office/powerpoint/2010/main" val="194883998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descr="Изображение выглядит как текст, электроника&#10;&#10;Автоматически созданное описание">
            <a:extLst>
              <a:ext uri="{FF2B5EF4-FFF2-40B4-BE49-F238E27FC236}">
                <a16:creationId xmlns:a16="http://schemas.microsoft.com/office/drawing/2014/main" id="{40B98E5B-1BF6-9198-D49B-27B0EBFD02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8" y="1200630"/>
            <a:ext cx="7920000" cy="4456741"/>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4" name="Picture 2" descr="Crying Face on Apple iOS 14.2">
            <a:extLst>
              <a:ext uri="{FF2B5EF4-FFF2-40B4-BE49-F238E27FC236}">
                <a16:creationId xmlns:a16="http://schemas.microsoft.com/office/drawing/2014/main" id="{ACB8B56E-CB21-75A8-8C02-89829973CC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62462" y="1219866"/>
            <a:ext cx="1079066" cy="1079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7384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descr="Изображение выглядит как текст, электроника&#10;&#10;Автоматически созданное описание">
            <a:extLst>
              <a:ext uri="{FF2B5EF4-FFF2-40B4-BE49-F238E27FC236}">
                <a16:creationId xmlns:a16="http://schemas.microsoft.com/office/drawing/2014/main" id="{DA6DBCC2-262F-0F58-EAC0-536ABA4639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4388" y="1200630"/>
            <a:ext cx="7920000" cy="4456741"/>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5" name="Picture 4" descr="Hugging Face on Apple iOS 14.2">
            <a:extLst>
              <a:ext uri="{FF2B5EF4-FFF2-40B4-BE49-F238E27FC236}">
                <a16:creationId xmlns:a16="http://schemas.microsoft.com/office/drawing/2014/main" id="{893623AE-2885-90AD-A990-EA5C339A63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61528" y="1219866"/>
            <a:ext cx="1080000" cy="10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3555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54B64-4457-450E-87F9-A52B139EA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1C554B64-4457-450E-87F9-A52B139EA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Прямокутник 13">
            <a:extLst>
              <a:ext uri="{FF2B5EF4-FFF2-40B4-BE49-F238E27FC236}">
                <a16:creationId xmlns:a16="http://schemas.microsoft.com/office/drawing/2014/main" id="{A14FE9C0-B3BB-4470-824A-5C18DF861D38}"/>
              </a:ext>
            </a:extLst>
          </p:cNvPr>
          <p:cNvSpPr/>
          <p:nvPr/>
        </p:nvSpPr>
        <p:spPr>
          <a:xfrm>
            <a:off x="0" y="0"/>
            <a:ext cx="12192000" cy="6858000"/>
          </a:xfrm>
          <a:prstGeom prst="rect">
            <a:avLst/>
          </a:prstGeom>
          <a:gradFill>
            <a:gsLst>
              <a:gs pos="0">
                <a:schemeClr val="bg2"/>
              </a:gs>
              <a:gs pos="35000">
                <a:schemeClr val="accent1"/>
              </a:gs>
              <a:gs pos="83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sp>
        <p:nvSpPr>
          <p:cNvPr id="2" name="Текст 1">
            <a:extLst>
              <a:ext uri="{FF2B5EF4-FFF2-40B4-BE49-F238E27FC236}">
                <a16:creationId xmlns:a16="http://schemas.microsoft.com/office/drawing/2014/main" id="{B98A5077-16B2-5216-7BF4-892A3FC6E796}"/>
              </a:ext>
            </a:extLst>
          </p:cNvPr>
          <p:cNvSpPr>
            <a:spLocks noGrp="1"/>
          </p:cNvSpPr>
          <p:nvPr>
            <p:ph type="body" sz="quarter" idx="10"/>
          </p:nvPr>
        </p:nvSpPr>
        <p:spPr/>
        <p:txBody>
          <a:bodyPr/>
          <a:lstStyle/>
          <a:p>
            <a:r>
              <a:rPr lang="ru-RU" dirty="0">
                <a:solidFill>
                  <a:schemeClr val="bg1"/>
                </a:solidFill>
              </a:rPr>
              <a:t>Правила </a:t>
            </a:r>
            <a:r>
              <a:rPr lang="ru-RU" dirty="0" err="1">
                <a:solidFill>
                  <a:schemeClr val="bg1"/>
                </a:solidFill>
              </a:rPr>
              <a:t>роботи</a:t>
            </a:r>
            <a:r>
              <a:rPr lang="ru-RU" dirty="0">
                <a:solidFill>
                  <a:schemeClr val="bg1"/>
                </a:solidFill>
              </a:rPr>
              <a:t> з </a:t>
            </a:r>
            <a:r>
              <a:rPr lang="ru-RU" dirty="0" err="1">
                <a:solidFill>
                  <a:schemeClr val="bg1"/>
                </a:solidFill>
              </a:rPr>
              <a:t>кольорами</a:t>
            </a:r>
            <a:endParaRPr lang="ru-RU" dirty="0">
              <a:solidFill>
                <a:schemeClr val="bg1"/>
              </a:solidFill>
            </a:endParaRPr>
          </a:p>
        </p:txBody>
      </p:sp>
      <p:sp>
        <p:nvSpPr>
          <p:cNvPr id="4" name="Овал 3">
            <a:extLst>
              <a:ext uri="{FF2B5EF4-FFF2-40B4-BE49-F238E27FC236}">
                <a16:creationId xmlns:a16="http://schemas.microsoft.com/office/drawing/2014/main" id="{1ECB4A92-CA42-8B12-1424-AB3FA5C7E9A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Рисунок 4">
            <a:extLst>
              <a:ext uri="{FF2B5EF4-FFF2-40B4-BE49-F238E27FC236}">
                <a16:creationId xmlns:a16="http://schemas.microsoft.com/office/drawing/2014/main" id="{252471BC-D417-5ADD-7B0D-57BA085682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6972" y="662677"/>
            <a:ext cx="736600" cy="736600"/>
          </a:xfrm>
          <a:prstGeom prst="rect">
            <a:avLst/>
          </a:prstGeom>
        </p:spPr>
      </p:pic>
      <p:pic>
        <p:nvPicPr>
          <p:cNvPr id="7" name="Рисунок 6">
            <a:extLst>
              <a:ext uri="{FF2B5EF4-FFF2-40B4-BE49-F238E27FC236}">
                <a16:creationId xmlns:a16="http://schemas.microsoft.com/office/drawing/2014/main" id="{B6E65FAF-3061-A58B-C2D6-0059E5B80D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44972" y="2655888"/>
            <a:ext cx="736600" cy="736600"/>
          </a:xfrm>
          <a:prstGeom prst="rect">
            <a:avLst/>
          </a:prstGeom>
        </p:spPr>
      </p:pic>
      <p:pic>
        <p:nvPicPr>
          <p:cNvPr id="8" name="Рисунок 7">
            <a:extLst>
              <a:ext uri="{FF2B5EF4-FFF2-40B4-BE49-F238E27FC236}">
                <a16:creationId xmlns:a16="http://schemas.microsoft.com/office/drawing/2014/main" id="{FF40C706-AEDA-E0FA-6464-52EE76AED67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3918" y="5430260"/>
            <a:ext cx="736600" cy="736600"/>
          </a:xfrm>
          <a:prstGeom prst="rect">
            <a:avLst/>
          </a:prstGeom>
        </p:spPr>
      </p:pic>
    </p:spTree>
    <p:extLst>
      <p:ext uri="{BB962C8B-B14F-4D97-AF65-F5344CB8AC3E}">
        <p14:creationId xmlns:p14="http://schemas.microsoft.com/office/powerpoint/2010/main" val="19583060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3572C159-98CD-D304-145E-862C98FAE001}"/>
              </a:ext>
            </a:extLst>
          </p:cNvPr>
          <p:cNvSpPr>
            <a:spLocks noGrp="1"/>
          </p:cNvSpPr>
          <p:nvPr>
            <p:ph type="body" sz="quarter" idx="10"/>
          </p:nvPr>
        </p:nvSpPr>
        <p:spPr/>
        <p:txBody>
          <a:bodyPr/>
          <a:lstStyle/>
          <a:p>
            <a:r>
              <a:rPr lang="ru-RU" dirty="0">
                <a:solidFill>
                  <a:schemeClr val="accent1"/>
                </a:solidFill>
              </a:rPr>
              <a:t>Не </a:t>
            </a:r>
            <a:r>
              <a:rPr lang="ru-RU" dirty="0" err="1">
                <a:solidFill>
                  <a:schemeClr val="accent1"/>
                </a:solidFill>
              </a:rPr>
              <a:t>потрібно</a:t>
            </a:r>
            <a:r>
              <a:rPr lang="ru-RU" dirty="0">
                <a:solidFill>
                  <a:schemeClr val="accent1"/>
                </a:solidFill>
              </a:rPr>
              <a:t> </a:t>
            </a:r>
            <a:r>
              <a:rPr lang="ru-RU" dirty="0" err="1">
                <a:solidFill>
                  <a:schemeClr val="accent1"/>
                </a:solidFill>
              </a:rPr>
              <a:t>експериментувати</a:t>
            </a:r>
            <a:r>
              <a:rPr lang="ru-RU" dirty="0">
                <a:solidFill>
                  <a:schemeClr val="accent1"/>
                </a:solidFill>
              </a:rPr>
              <a:t> з </a:t>
            </a:r>
            <a:r>
              <a:rPr lang="ru-RU" dirty="0" err="1">
                <a:solidFill>
                  <a:schemeClr val="accent1"/>
                </a:solidFill>
              </a:rPr>
              <a:t>кольорами</a:t>
            </a:r>
            <a:r>
              <a:rPr lang="ru-RU" dirty="0">
                <a:solidFill>
                  <a:schemeClr val="accent1"/>
                </a:solidFill>
              </a:rPr>
              <a:t> </a:t>
            </a:r>
            <a:r>
              <a:rPr lang="ru-RU" dirty="0" err="1">
                <a:solidFill>
                  <a:schemeClr val="accent1"/>
                </a:solidFill>
              </a:rPr>
              <a:t>презентації</a:t>
            </a:r>
            <a:r>
              <a:rPr lang="ru-RU" dirty="0">
                <a:solidFill>
                  <a:schemeClr val="accent1"/>
                </a:solidFill>
              </a:rPr>
              <a:t>: максимум </a:t>
            </a:r>
            <a:r>
              <a:rPr lang="ru-RU" dirty="0">
                <a:solidFill>
                  <a:schemeClr val="accent5"/>
                </a:solidFill>
              </a:rPr>
              <a:t>2-3 </a:t>
            </a:r>
            <a:r>
              <a:rPr lang="ru-RU" dirty="0" err="1">
                <a:solidFill>
                  <a:schemeClr val="accent5"/>
                </a:solidFill>
              </a:rPr>
              <a:t>підібрані</a:t>
            </a:r>
            <a:r>
              <a:rPr lang="ru-RU" dirty="0">
                <a:solidFill>
                  <a:schemeClr val="accent5"/>
                </a:solidFill>
              </a:rPr>
              <a:t> </a:t>
            </a:r>
            <a:r>
              <a:rPr lang="ru-RU" dirty="0" err="1">
                <a:solidFill>
                  <a:schemeClr val="accent5"/>
                </a:solidFill>
              </a:rPr>
              <a:t>кольори</a:t>
            </a:r>
            <a:endParaRPr lang="en-US" dirty="0">
              <a:solidFill>
                <a:schemeClr val="accent5"/>
              </a:solidFill>
            </a:endParaRPr>
          </a:p>
        </p:txBody>
      </p:sp>
      <p:grpSp>
        <p:nvGrpSpPr>
          <p:cNvPr id="13" name="Группа 12">
            <a:extLst>
              <a:ext uri="{FF2B5EF4-FFF2-40B4-BE49-F238E27FC236}">
                <a16:creationId xmlns:a16="http://schemas.microsoft.com/office/drawing/2014/main" id="{006287E0-936E-EFC4-F7FA-4983F71D9286}"/>
              </a:ext>
            </a:extLst>
          </p:cNvPr>
          <p:cNvGrpSpPr/>
          <p:nvPr/>
        </p:nvGrpSpPr>
        <p:grpSpPr>
          <a:xfrm>
            <a:off x="8137613" y="2138652"/>
            <a:ext cx="3240000" cy="1849550"/>
            <a:chOff x="7969544" y="2138652"/>
            <a:chExt cx="3240000" cy="1849550"/>
          </a:xfrm>
        </p:grpSpPr>
        <p:sp>
          <p:nvSpPr>
            <p:cNvPr id="5" name="Прямокутник: округлені кути 36">
              <a:extLst>
                <a:ext uri="{FF2B5EF4-FFF2-40B4-BE49-F238E27FC236}">
                  <a16:creationId xmlns:a16="http://schemas.microsoft.com/office/drawing/2014/main" id="{1A9BE100-F2A5-3EBF-8209-39A54036730D}"/>
                </a:ext>
              </a:extLst>
            </p:cNvPr>
            <p:cNvSpPr/>
            <p:nvPr/>
          </p:nvSpPr>
          <p:spPr>
            <a:xfrm>
              <a:off x="7969544" y="2318652"/>
              <a:ext cx="3240000" cy="166955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800" dirty="0">
                  <a:solidFill>
                    <a:schemeClr val="tx1"/>
                  </a:solidFill>
                  <a:ea typeface="Roboto Black" panose="02000000000000000000" pitchFamily="2" charset="0"/>
                </a:rPr>
                <a:t>Інші кольори потрібно підбирати з готових кольорових гам</a:t>
              </a:r>
              <a:endParaRPr lang="ru-RU" sz="1800" dirty="0">
                <a:solidFill>
                  <a:schemeClr val="tx1"/>
                </a:solidFill>
                <a:ea typeface="Roboto Black" panose="02000000000000000000" pitchFamily="2" charset="0"/>
              </a:endParaRPr>
            </a:p>
          </p:txBody>
        </p:sp>
        <p:sp>
          <p:nvSpPr>
            <p:cNvPr id="8" name="Овал 7">
              <a:extLst>
                <a:ext uri="{FF2B5EF4-FFF2-40B4-BE49-F238E27FC236}">
                  <a16:creationId xmlns:a16="http://schemas.microsoft.com/office/drawing/2014/main" id="{3337C2F8-3E6D-8EA5-0AB9-089785704CBC}"/>
                </a:ext>
              </a:extLst>
            </p:cNvPr>
            <p:cNvSpPr/>
            <p:nvPr/>
          </p:nvSpPr>
          <p:spPr>
            <a:xfrm>
              <a:off x="9409338" y="2138652"/>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3</a:t>
              </a:r>
              <a:endParaRPr lang="en-US" sz="1600" dirty="0">
                <a:latin typeface="+mj-lt"/>
              </a:endParaRPr>
            </a:p>
          </p:txBody>
        </p:sp>
      </p:grpSp>
      <p:grpSp>
        <p:nvGrpSpPr>
          <p:cNvPr id="11" name="Группа 10">
            <a:extLst>
              <a:ext uri="{FF2B5EF4-FFF2-40B4-BE49-F238E27FC236}">
                <a16:creationId xmlns:a16="http://schemas.microsoft.com/office/drawing/2014/main" id="{9968E725-0E47-2A71-F7EA-E0097FD54833}"/>
              </a:ext>
            </a:extLst>
          </p:cNvPr>
          <p:cNvGrpSpPr/>
          <p:nvPr/>
        </p:nvGrpSpPr>
        <p:grpSpPr>
          <a:xfrm>
            <a:off x="814388" y="2138652"/>
            <a:ext cx="3240000" cy="2225212"/>
            <a:chOff x="982662" y="2138652"/>
            <a:chExt cx="3240000" cy="2225212"/>
          </a:xfrm>
        </p:grpSpPr>
        <p:sp>
          <p:nvSpPr>
            <p:cNvPr id="3" name="Прямокутник: округлені кути 34">
              <a:extLst>
                <a:ext uri="{FF2B5EF4-FFF2-40B4-BE49-F238E27FC236}">
                  <a16:creationId xmlns:a16="http://schemas.microsoft.com/office/drawing/2014/main" id="{CFB83E9B-8956-E374-16C3-806D998CCDD1}"/>
                </a:ext>
              </a:extLst>
            </p:cNvPr>
            <p:cNvSpPr/>
            <p:nvPr/>
          </p:nvSpPr>
          <p:spPr>
            <a:xfrm>
              <a:off x="982662" y="2318652"/>
              <a:ext cx="3240000" cy="166955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uk-UA" sz="1800" dirty="0">
                  <a:solidFill>
                    <a:schemeClr val="tx1"/>
                  </a:solidFill>
                  <a:ea typeface="Roboto Black" panose="02000000000000000000" pitchFamily="2" charset="0"/>
                </a:rPr>
                <a:t>Текст чорний*</a:t>
              </a:r>
            </a:p>
          </p:txBody>
        </p:sp>
        <p:sp>
          <p:nvSpPr>
            <p:cNvPr id="6" name="Овал 5">
              <a:extLst>
                <a:ext uri="{FF2B5EF4-FFF2-40B4-BE49-F238E27FC236}">
                  <a16:creationId xmlns:a16="http://schemas.microsoft.com/office/drawing/2014/main" id="{F36251A7-B5A1-7D2B-7AA0-2FBD041CD3C9}"/>
                </a:ext>
              </a:extLst>
            </p:cNvPr>
            <p:cNvSpPr/>
            <p:nvPr/>
          </p:nvSpPr>
          <p:spPr>
            <a:xfrm>
              <a:off x="2422662" y="2138652"/>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1</a:t>
              </a:r>
              <a:endParaRPr lang="en-US" sz="1600" dirty="0">
                <a:latin typeface="+mj-lt"/>
              </a:endParaRPr>
            </a:p>
          </p:txBody>
        </p:sp>
        <p:sp>
          <p:nvSpPr>
            <p:cNvPr id="9" name="Місце для тексту 14">
              <a:extLst>
                <a:ext uri="{FF2B5EF4-FFF2-40B4-BE49-F238E27FC236}">
                  <a16:creationId xmlns:a16="http://schemas.microsoft.com/office/drawing/2014/main" id="{C374D388-545D-553F-83C8-65786D7D2665}"/>
                </a:ext>
              </a:extLst>
            </p:cNvPr>
            <p:cNvSpPr txBox="1">
              <a:spLocks/>
            </p:cNvSpPr>
            <p:nvPr/>
          </p:nvSpPr>
          <p:spPr>
            <a:xfrm>
              <a:off x="983116" y="4122916"/>
              <a:ext cx="3239546" cy="240948"/>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1100" kern="1200">
                  <a:solidFill>
                    <a:schemeClr val="bg1">
                      <a:lumMod val="6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uk-UA" sz="1200" dirty="0">
                  <a:solidFill>
                    <a:schemeClr val="bg1">
                      <a:lumMod val="50000"/>
                    </a:schemeClr>
                  </a:solidFill>
                </a:rPr>
                <a:t>* інший, якщо щось виділяємо</a:t>
              </a:r>
            </a:p>
          </p:txBody>
        </p:sp>
      </p:grpSp>
      <p:grpSp>
        <p:nvGrpSpPr>
          <p:cNvPr id="12" name="Группа 11">
            <a:extLst>
              <a:ext uri="{FF2B5EF4-FFF2-40B4-BE49-F238E27FC236}">
                <a16:creationId xmlns:a16="http://schemas.microsoft.com/office/drawing/2014/main" id="{160883C3-AC78-83E3-47DA-06A13D88C51E}"/>
              </a:ext>
            </a:extLst>
          </p:cNvPr>
          <p:cNvGrpSpPr/>
          <p:nvPr/>
        </p:nvGrpSpPr>
        <p:grpSpPr>
          <a:xfrm>
            <a:off x="4476000" y="2138652"/>
            <a:ext cx="3240000" cy="2225212"/>
            <a:chOff x="4476103" y="2138652"/>
            <a:chExt cx="3240000" cy="2225212"/>
          </a:xfrm>
        </p:grpSpPr>
        <p:sp>
          <p:nvSpPr>
            <p:cNvPr id="4" name="Прямокутник: округлені кути 35">
              <a:extLst>
                <a:ext uri="{FF2B5EF4-FFF2-40B4-BE49-F238E27FC236}">
                  <a16:creationId xmlns:a16="http://schemas.microsoft.com/office/drawing/2014/main" id="{935C4911-3322-6655-6EAF-E8E74704E899}"/>
                </a:ext>
              </a:extLst>
            </p:cNvPr>
            <p:cNvSpPr/>
            <p:nvPr/>
          </p:nvSpPr>
          <p:spPr>
            <a:xfrm>
              <a:off x="4476103" y="2318652"/>
              <a:ext cx="3240000" cy="166955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800" dirty="0">
                  <a:solidFill>
                    <a:schemeClr val="tx1"/>
                  </a:solidFill>
                  <a:ea typeface="Roboto Black" panose="02000000000000000000" pitchFamily="2" charset="0"/>
                </a:rPr>
                <a:t>Фон білий*</a:t>
              </a:r>
            </a:p>
          </p:txBody>
        </p:sp>
        <p:sp>
          <p:nvSpPr>
            <p:cNvPr id="7" name="Овал 6">
              <a:extLst>
                <a:ext uri="{FF2B5EF4-FFF2-40B4-BE49-F238E27FC236}">
                  <a16:creationId xmlns:a16="http://schemas.microsoft.com/office/drawing/2014/main" id="{B97C8A56-1DB6-CD83-B379-4A4C70A6C71B}"/>
                </a:ext>
              </a:extLst>
            </p:cNvPr>
            <p:cNvSpPr/>
            <p:nvPr/>
          </p:nvSpPr>
          <p:spPr>
            <a:xfrm>
              <a:off x="5916000" y="2138652"/>
              <a:ext cx="360000" cy="36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2</a:t>
              </a:r>
              <a:endParaRPr lang="en-US" sz="1600" dirty="0">
                <a:latin typeface="+mj-lt"/>
              </a:endParaRPr>
            </a:p>
          </p:txBody>
        </p:sp>
        <p:sp>
          <p:nvSpPr>
            <p:cNvPr id="10" name="Місце для тексту 14">
              <a:extLst>
                <a:ext uri="{FF2B5EF4-FFF2-40B4-BE49-F238E27FC236}">
                  <a16:creationId xmlns:a16="http://schemas.microsoft.com/office/drawing/2014/main" id="{E299FAEE-67FD-1612-3D11-0A934FFB4FB6}"/>
                </a:ext>
              </a:extLst>
            </p:cNvPr>
            <p:cNvSpPr txBox="1">
              <a:spLocks/>
            </p:cNvSpPr>
            <p:nvPr/>
          </p:nvSpPr>
          <p:spPr>
            <a:xfrm>
              <a:off x="4476557" y="4122916"/>
              <a:ext cx="3239546" cy="240948"/>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1100" kern="1200">
                  <a:solidFill>
                    <a:schemeClr val="bg1">
                      <a:lumMod val="6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uk-UA" sz="1200" dirty="0">
                  <a:solidFill>
                    <a:schemeClr val="bg1">
                      <a:lumMod val="50000"/>
                    </a:schemeClr>
                  </a:solidFill>
                </a:rPr>
                <a:t>* інший, якщо щось виділяємо</a:t>
              </a:r>
            </a:p>
          </p:txBody>
        </p:sp>
      </p:grpSp>
    </p:spTree>
    <p:extLst>
      <p:ext uri="{BB962C8B-B14F-4D97-AF65-F5344CB8AC3E}">
        <p14:creationId xmlns:p14="http://schemas.microsoft.com/office/powerpoint/2010/main" val="2450679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rying Face on Apple iOS 14.2">
            <a:extLst>
              <a:ext uri="{FF2B5EF4-FFF2-40B4-BE49-F238E27FC236}">
                <a16:creationId xmlns:a16="http://schemas.microsoft.com/office/drawing/2014/main" id="{982CAB09-D011-0872-E727-93415580B3A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2462" y="573199"/>
            <a:ext cx="1079066" cy="1079066"/>
          </a:xfrm>
          <a:prstGeom prst="rect">
            <a:avLst/>
          </a:prstGeom>
          <a:noFill/>
          <a:extLst>
            <a:ext uri="{909E8E84-426E-40DD-AFC4-6F175D3DCCD1}">
              <a14:hiddenFill xmlns:a14="http://schemas.microsoft.com/office/drawing/2010/main">
                <a:solidFill>
                  <a:srgbClr val="FFFFFF"/>
                </a:solidFill>
              </a14:hiddenFill>
            </a:ext>
          </a:extLst>
        </p:spPr>
      </p:pic>
      <p:pic>
        <p:nvPicPr>
          <p:cNvPr id="6" name="Рисунок 5">
            <a:extLst>
              <a:ext uri="{FF2B5EF4-FFF2-40B4-BE49-F238E27FC236}">
                <a16:creationId xmlns:a16="http://schemas.microsoft.com/office/drawing/2014/main" id="{D659EBD0-1064-D6C6-99B8-F7BA823EF7AE}"/>
              </a:ext>
            </a:extLst>
          </p:cNvPr>
          <p:cNvPicPr>
            <a:picLocks noChangeAspect="1"/>
          </p:cNvPicPr>
          <p:nvPr/>
        </p:nvPicPr>
        <p:blipFill>
          <a:blip r:embed="rId3"/>
          <a:stretch>
            <a:fillRect/>
          </a:stretch>
        </p:blipFill>
        <p:spPr>
          <a:xfrm>
            <a:off x="814388" y="573199"/>
            <a:ext cx="7920000" cy="5711602"/>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143818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1C189FD7-9DA4-B26A-B59C-A2B518673931}"/>
              </a:ext>
            </a:extLst>
          </p:cNvPr>
          <p:cNvPicPr>
            <a:picLocks noChangeAspect="1"/>
          </p:cNvPicPr>
          <p:nvPr/>
        </p:nvPicPr>
        <p:blipFill>
          <a:blip r:embed="rId2"/>
          <a:stretch>
            <a:fillRect/>
          </a:stretch>
        </p:blipFill>
        <p:spPr>
          <a:xfrm>
            <a:off x="814388" y="1200630"/>
            <a:ext cx="7920000" cy="445319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2" name="Picture 4" descr="Hugging Face on Apple iOS 14.2">
            <a:extLst>
              <a:ext uri="{FF2B5EF4-FFF2-40B4-BE49-F238E27FC236}">
                <a16:creationId xmlns:a16="http://schemas.microsoft.com/office/drawing/2014/main" id="{05ED1AD5-2AB6-AFB4-3A89-92C1B96664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61528" y="1219866"/>
            <a:ext cx="1080000" cy="10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96193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54B64-4457-450E-87F9-A52B139EA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1C554B64-4457-450E-87F9-A52B139EA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Прямокутник 13">
            <a:extLst>
              <a:ext uri="{FF2B5EF4-FFF2-40B4-BE49-F238E27FC236}">
                <a16:creationId xmlns:a16="http://schemas.microsoft.com/office/drawing/2014/main" id="{A14FE9C0-B3BB-4470-824A-5C18DF861D38}"/>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sp>
        <p:nvSpPr>
          <p:cNvPr id="2" name="Текст 1">
            <a:extLst>
              <a:ext uri="{FF2B5EF4-FFF2-40B4-BE49-F238E27FC236}">
                <a16:creationId xmlns:a16="http://schemas.microsoft.com/office/drawing/2014/main" id="{B98A5077-16B2-5216-7BF4-892A3FC6E796}"/>
              </a:ext>
            </a:extLst>
          </p:cNvPr>
          <p:cNvSpPr>
            <a:spLocks noGrp="1"/>
          </p:cNvSpPr>
          <p:nvPr>
            <p:ph type="body" sz="quarter" idx="10"/>
          </p:nvPr>
        </p:nvSpPr>
        <p:spPr/>
        <p:txBody>
          <a:bodyPr/>
          <a:lstStyle/>
          <a:p>
            <a:r>
              <a:rPr lang="ru-RU" sz="4000" dirty="0" err="1">
                <a:solidFill>
                  <a:schemeClr val="bg1"/>
                </a:solidFill>
                <a:latin typeface="Comic Sans MS" panose="030F0702030302020204" pitchFamily="66" charset="0"/>
              </a:rPr>
              <a:t>Принципи</a:t>
            </a:r>
            <a:r>
              <a:rPr lang="ru-RU" sz="4000" dirty="0">
                <a:solidFill>
                  <a:schemeClr val="bg1"/>
                </a:solidFill>
                <a:latin typeface="Comic Sans MS" panose="030F0702030302020204" pitchFamily="66" charset="0"/>
              </a:rPr>
              <a:t> </a:t>
            </a:r>
            <a:r>
              <a:rPr lang="ru-RU" sz="4000" dirty="0" err="1">
                <a:solidFill>
                  <a:schemeClr val="bg1"/>
                </a:solidFill>
                <a:latin typeface="Segoe Script" panose="030B0504020000000003" pitchFamily="66" charset="0"/>
              </a:rPr>
              <a:t>роботи</a:t>
            </a:r>
            <a:r>
              <a:rPr lang="ru-RU" sz="4000" dirty="0">
                <a:solidFill>
                  <a:schemeClr val="bg1"/>
                </a:solidFill>
              </a:rPr>
              <a:t> </a:t>
            </a:r>
            <a:r>
              <a:rPr lang="ru-RU" sz="4000" dirty="0" err="1">
                <a:solidFill>
                  <a:schemeClr val="bg1"/>
                </a:solidFill>
              </a:rPr>
              <a:t>зі</a:t>
            </a:r>
            <a:r>
              <a:rPr lang="ru-RU" sz="4000" dirty="0">
                <a:solidFill>
                  <a:schemeClr val="bg1"/>
                </a:solidFill>
              </a:rPr>
              <a:t> </a:t>
            </a:r>
            <a:r>
              <a:rPr lang="ru-RU" sz="4000" dirty="0">
                <a:solidFill>
                  <a:schemeClr val="bg1"/>
                </a:solidFill>
                <a:latin typeface="Times New Roman" panose="02020603050405020304" pitchFamily="18" charset="0"/>
                <a:cs typeface="Times New Roman" panose="02020603050405020304" pitchFamily="18" charset="0"/>
              </a:rPr>
              <a:t>шрифтами</a:t>
            </a:r>
          </a:p>
        </p:txBody>
      </p:sp>
      <p:sp>
        <p:nvSpPr>
          <p:cNvPr id="4" name="Овал 3">
            <a:extLst>
              <a:ext uri="{FF2B5EF4-FFF2-40B4-BE49-F238E27FC236}">
                <a16:creationId xmlns:a16="http://schemas.microsoft.com/office/drawing/2014/main" id="{1ECB4A92-CA42-8B12-1424-AB3FA5C7E9A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337303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2. Як будете </a:t>
            </a:r>
            <a:r>
              <a:rPr lang="ru-RU" dirty="0" err="1">
                <a:solidFill>
                  <a:schemeClr val="accent1"/>
                </a:solidFill>
              </a:rPr>
              <a:t>використовувати</a:t>
            </a:r>
            <a:endParaRPr lang="ru-RU" dirty="0">
              <a:solidFill>
                <a:schemeClr val="accent1"/>
              </a:solidFill>
            </a:endParaRPr>
          </a:p>
        </p:txBody>
      </p:sp>
      <p:grpSp>
        <p:nvGrpSpPr>
          <p:cNvPr id="2" name="Группа 1">
            <a:extLst>
              <a:ext uri="{FF2B5EF4-FFF2-40B4-BE49-F238E27FC236}">
                <a16:creationId xmlns:a16="http://schemas.microsoft.com/office/drawing/2014/main" id="{8FE83DDF-E91C-6CFA-2A08-144F59E8CA97}"/>
              </a:ext>
            </a:extLst>
          </p:cNvPr>
          <p:cNvGrpSpPr/>
          <p:nvPr/>
        </p:nvGrpSpPr>
        <p:grpSpPr>
          <a:xfrm>
            <a:off x="814388" y="2133599"/>
            <a:ext cx="5283200" cy="4220575"/>
            <a:chOff x="4739154" y="2133600"/>
            <a:chExt cx="3841557" cy="3068894"/>
          </a:xfrm>
        </p:grpSpPr>
        <p:sp>
          <p:nvSpPr>
            <p:cNvPr id="3" name="Прямокутник: округлені кути 13">
              <a:extLst>
                <a:ext uri="{FF2B5EF4-FFF2-40B4-BE49-F238E27FC236}">
                  <a16:creationId xmlns:a16="http://schemas.microsoft.com/office/drawing/2014/main" id="{28B3F7AA-B3DE-0FD2-9390-2A8484ED2504}"/>
                </a:ext>
              </a:extLst>
            </p:cNvPr>
            <p:cNvSpPr/>
            <p:nvPr/>
          </p:nvSpPr>
          <p:spPr>
            <a:xfrm>
              <a:off x="5220711" y="4644276"/>
              <a:ext cx="2880000" cy="55821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spcAft>
                  <a:spcPts val="1200"/>
                </a:spcAft>
              </a:pPr>
              <a:r>
                <a:rPr lang="uk-UA" dirty="0">
                  <a:solidFill>
                    <a:schemeClr val="tx1"/>
                  </a:solidFill>
                  <a:latin typeface="+mj-lt"/>
                </a:rPr>
                <a:t>Щоб самостійно пояснювала</a:t>
              </a:r>
            </a:p>
          </p:txBody>
        </p:sp>
        <p:pic>
          <p:nvPicPr>
            <p:cNvPr id="6" name="Рисунок 5">
              <a:extLst>
                <a:ext uri="{FF2B5EF4-FFF2-40B4-BE49-F238E27FC236}">
                  <a16:creationId xmlns:a16="http://schemas.microsoft.com/office/drawing/2014/main" id="{CEEBC625-29A3-F173-D808-6508B20EB800}"/>
                </a:ext>
              </a:extLst>
            </p:cNvPr>
            <p:cNvPicPr>
              <a:picLocks noChangeAspect="1"/>
            </p:cNvPicPr>
            <p:nvPr/>
          </p:nvPicPr>
          <p:blipFill>
            <a:blip r:embed="rId5"/>
            <a:stretch>
              <a:fillRect/>
            </a:stretch>
          </p:blipFill>
          <p:spPr>
            <a:xfrm>
              <a:off x="4739154" y="2133600"/>
              <a:ext cx="3841557" cy="2160000"/>
            </a:xfrm>
            <a:prstGeom prst="rect">
              <a:avLst/>
            </a:prstGeom>
            <a:ln>
              <a:solidFill>
                <a:schemeClr val="bg1">
                  <a:lumMod val="75000"/>
                </a:schemeClr>
              </a:solidFill>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5424075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3572C159-98CD-D304-145E-862C98FAE001}"/>
              </a:ext>
            </a:extLst>
          </p:cNvPr>
          <p:cNvSpPr>
            <a:spLocks noGrp="1"/>
          </p:cNvSpPr>
          <p:nvPr>
            <p:ph type="body" sz="quarter" idx="10"/>
          </p:nvPr>
        </p:nvSpPr>
        <p:spPr>
          <a:xfrm>
            <a:off x="814919" y="559106"/>
            <a:ext cx="10687817" cy="1080000"/>
          </a:xfrm>
        </p:spPr>
        <p:txBody>
          <a:bodyPr/>
          <a:lstStyle/>
          <a:p>
            <a:r>
              <a:rPr lang="uk-UA" dirty="0">
                <a:solidFill>
                  <a:schemeClr val="accent5"/>
                </a:solidFill>
              </a:rPr>
              <a:t>Не використовуйте багато шрифтів</a:t>
            </a:r>
            <a:r>
              <a:rPr lang="uk-UA" dirty="0">
                <a:solidFill>
                  <a:schemeClr val="accent1"/>
                </a:solidFill>
              </a:rPr>
              <a:t> різних розмірів – це ускладнює сприйняття презентації</a:t>
            </a:r>
            <a:endParaRPr lang="en-US" dirty="0">
              <a:solidFill>
                <a:schemeClr val="accent1"/>
              </a:solidFill>
            </a:endParaRPr>
          </a:p>
        </p:txBody>
      </p:sp>
      <p:grpSp>
        <p:nvGrpSpPr>
          <p:cNvPr id="28" name="Группа 27">
            <a:extLst>
              <a:ext uri="{FF2B5EF4-FFF2-40B4-BE49-F238E27FC236}">
                <a16:creationId xmlns:a16="http://schemas.microsoft.com/office/drawing/2014/main" id="{82243855-ED32-DA55-04ED-453D651E5593}"/>
              </a:ext>
            </a:extLst>
          </p:cNvPr>
          <p:cNvGrpSpPr/>
          <p:nvPr/>
        </p:nvGrpSpPr>
        <p:grpSpPr>
          <a:xfrm>
            <a:off x="6581343" y="2133600"/>
            <a:ext cx="2520000" cy="3489864"/>
            <a:chOff x="814388" y="2014287"/>
            <a:chExt cx="2520000" cy="3489864"/>
          </a:xfrm>
        </p:grpSpPr>
        <p:sp>
          <p:nvSpPr>
            <p:cNvPr id="14" name="Прямокутник: округлені кути 30">
              <a:extLst>
                <a:ext uri="{FF2B5EF4-FFF2-40B4-BE49-F238E27FC236}">
                  <a16:creationId xmlns:a16="http://schemas.microsoft.com/office/drawing/2014/main" id="{293C95D4-6932-075F-CDA6-F97BA86BF00A}"/>
                </a:ext>
              </a:extLst>
            </p:cNvPr>
            <p:cNvSpPr/>
            <p:nvPr/>
          </p:nvSpPr>
          <p:spPr>
            <a:xfrm>
              <a:off x="814388" y="3549150"/>
              <a:ext cx="2520000" cy="195500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Заголовок</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Основний текст</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Примітки, графіки…</a:t>
              </a:r>
            </a:p>
          </p:txBody>
        </p:sp>
        <p:grpSp>
          <p:nvGrpSpPr>
            <p:cNvPr id="23" name="Группа 22">
              <a:extLst>
                <a:ext uri="{FF2B5EF4-FFF2-40B4-BE49-F238E27FC236}">
                  <a16:creationId xmlns:a16="http://schemas.microsoft.com/office/drawing/2014/main" id="{3B0714FF-A12F-5FA6-9B44-3E8FABC8703B}"/>
                </a:ext>
              </a:extLst>
            </p:cNvPr>
            <p:cNvGrpSpPr/>
            <p:nvPr/>
          </p:nvGrpSpPr>
          <p:grpSpPr>
            <a:xfrm>
              <a:off x="1320961" y="2014287"/>
              <a:ext cx="1506854" cy="1294563"/>
              <a:chOff x="1849235" y="2014287"/>
              <a:chExt cx="1506854" cy="1294563"/>
            </a:xfrm>
          </p:grpSpPr>
          <p:sp>
            <p:nvSpPr>
              <p:cNvPr id="17" name="Прямокутник: округлені кути 33">
                <a:extLst>
                  <a:ext uri="{FF2B5EF4-FFF2-40B4-BE49-F238E27FC236}">
                    <a16:creationId xmlns:a16="http://schemas.microsoft.com/office/drawing/2014/main" id="{28AD2700-CDBA-01F5-68FC-CB66B34E4A6F}"/>
                  </a:ext>
                </a:extLst>
              </p:cNvPr>
              <p:cNvSpPr/>
              <p:nvPr/>
            </p:nvSpPr>
            <p:spPr>
              <a:xfrm>
                <a:off x="1849235" y="2794000"/>
                <a:ext cx="1506854" cy="514850"/>
              </a:xfrm>
              <a:prstGeom prst="roundRect">
                <a:avLst>
                  <a:gd name="adj" fmla="val 50000"/>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3 шрифти</a:t>
                </a:r>
                <a:endParaRPr lang="en-US" sz="1600" dirty="0">
                  <a:latin typeface="+mj-lt"/>
                </a:endParaRPr>
              </a:p>
            </p:txBody>
          </p:sp>
          <p:pic>
            <p:nvPicPr>
              <p:cNvPr id="20" name="Графіка 29" descr="Thumbs up sign with solid fill">
                <a:extLst>
                  <a:ext uri="{FF2B5EF4-FFF2-40B4-BE49-F238E27FC236}">
                    <a16:creationId xmlns:a16="http://schemas.microsoft.com/office/drawing/2014/main" id="{AB4EA26B-CFBA-815F-B0B8-DCED8FB0B9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37064" y="2014287"/>
                <a:ext cx="540000" cy="540000"/>
              </a:xfrm>
              <a:prstGeom prst="rect">
                <a:avLst/>
              </a:prstGeom>
            </p:spPr>
          </p:pic>
        </p:grpSp>
      </p:grpSp>
      <p:grpSp>
        <p:nvGrpSpPr>
          <p:cNvPr id="27" name="Группа 26">
            <a:extLst>
              <a:ext uri="{FF2B5EF4-FFF2-40B4-BE49-F238E27FC236}">
                <a16:creationId xmlns:a16="http://schemas.microsoft.com/office/drawing/2014/main" id="{7F8DFCB7-0861-164D-E404-F1B08ED68C1C}"/>
              </a:ext>
            </a:extLst>
          </p:cNvPr>
          <p:cNvGrpSpPr/>
          <p:nvPr/>
        </p:nvGrpSpPr>
        <p:grpSpPr>
          <a:xfrm>
            <a:off x="3698131" y="2133600"/>
            <a:ext cx="2520000" cy="3489864"/>
            <a:chOff x="3784098" y="2014287"/>
            <a:chExt cx="2520000" cy="3489864"/>
          </a:xfrm>
        </p:grpSpPr>
        <p:sp>
          <p:nvSpPr>
            <p:cNvPr id="15" name="Прямокутник: округлені кути 31">
              <a:extLst>
                <a:ext uri="{FF2B5EF4-FFF2-40B4-BE49-F238E27FC236}">
                  <a16:creationId xmlns:a16="http://schemas.microsoft.com/office/drawing/2014/main" id="{C6E89678-4798-B8BF-37F9-684C1BB064C4}"/>
                </a:ext>
              </a:extLst>
            </p:cNvPr>
            <p:cNvSpPr/>
            <p:nvPr/>
          </p:nvSpPr>
          <p:spPr>
            <a:xfrm>
              <a:off x="3784098" y="3549150"/>
              <a:ext cx="2520000" cy="195500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Заголовок</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Підзаголовок </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Основний текст</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Примітки, графіки…</a:t>
              </a:r>
            </a:p>
          </p:txBody>
        </p:sp>
        <p:grpSp>
          <p:nvGrpSpPr>
            <p:cNvPr id="24" name="Группа 23">
              <a:extLst>
                <a:ext uri="{FF2B5EF4-FFF2-40B4-BE49-F238E27FC236}">
                  <a16:creationId xmlns:a16="http://schemas.microsoft.com/office/drawing/2014/main" id="{0194C38F-556C-704E-0443-E8267BEE9426}"/>
                </a:ext>
              </a:extLst>
            </p:cNvPr>
            <p:cNvGrpSpPr/>
            <p:nvPr/>
          </p:nvGrpSpPr>
          <p:grpSpPr>
            <a:xfrm>
              <a:off x="4036879" y="2014287"/>
              <a:ext cx="2014438" cy="1294563"/>
              <a:chOff x="5088781" y="2014287"/>
              <a:chExt cx="2014438" cy="1294563"/>
            </a:xfrm>
          </p:grpSpPr>
          <p:sp>
            <p:nvSpPr>
              <p:cNvPr id="18" name="Прямокутник: округлені кути 34">
                <a:extLst>
                  <a:ext uri="{FF2B5EF4-FFF2-40B4-BE49-F238E27FC236}">
                    <a16:creationId xmlns:a16="http://schemas.microsoft.com/office/drawing/2014/main" id="{BFFE5730-6F89-0E0F-9F4C-C9F1873E97D1}"/>
                  </a:ext>
                </a:extLst>
              </p:cNvPr>
              <p:cNvSpPr/>
              <p:nvPr/>
            </p:nvSpPr>
            <p:spPr>
              <a:xfrm>
                <a:off x="5088781" y="2794000"/>
                <a:ext cx="2014438" cy="514850"/>
              </a:xfrm>
              <a:prstGeom prst="roundRect">
                <a:avLst>
                  <a:gd name="adj" fmla="val 50000"/>
                </a:avLst>
              </a:prstGeom>
              <a:solidFill>
                <a:srgbClr val="4CAF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4-5 шрифтів</a:t>
                </a:r>
                <a:endParaRPr lang="en-US" sz="1600" dirty="0">
                  <a:latin typeface="+mj-lt"/>
                </a:endParaRPr>
              </a:p>
            </p:txBody>
          </p:sp>
          <p:pic>
            <p:nvPicPr>
              <p:cNvPr id="21" name="Графіка 38" descr="Thumbs up sign with solid fill">
                <a:extLst>
                  <a:ext uri="{FF2B5EF4-FFF2-40B4-BE49-F238E27FC236}">
                    <a16:creationId xmlns:a16="http://schemas.microsoft.com/office/drawing/2014/main" id="{1F827514-30AE-F09A-5683-87E1FC886E9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26000" y="2014287"/>
                <a:ext cx="540000" cy="540000"/>
              </a:xfrm>
              <a:prstGeom prst="rect">
                <a:avLst/>
              </a:prstGeom>
            </p:spPr>
          </p:pic>
        </p:grpSp>
      </p:grpSp>
      <p:grpSp>
        <p:nvGrpSpPr>
          <p:cNvPr id="26" name="Группа 25">
            <a:extLst>
              <a:ext uri="{FF2B5EF4-FFF2-40B4-BE49-F238E27FC236}">
                <a16:creationId xmlns:a16="http://schemas.microsoft.com/office/drawing/2014/main" id="{A18C7F31-5864-CD68-F42E-077AD43F912C}"/>
              </a:ext>
            </a:extLst>
          </p:cNvPr>
          <p:cNvGrpSpPr/>
          <p:nvPr/>
        </p:nvGrpSpPr>
        <p:grpSpPr>
          <a:xfrm>
            <a:off x="814919" y="2133600"/>
            <a:ext cx="2520000" cy="3489864"/>
            <a:chOff x="6753808" y="2014287"/>
            <a:chExt cx="2520000" cy="3489864"/>
          </a:xfrm>
        </p:grpSpPr>
        <p:sp>
          <p:nvSpPr>
            <p:cNvPr id="16" name="Прямокутник: округлені кути 32">
              <a:extLst>
                <a:ext uri="{FF2B5EF4-FFF2-40B4-BE49-F238E27FC236}">
                  <a16:creationId xmlns:a16="http://schemas.microsoft.com/office/drawing/2014/main" id="{91B43DF3-0B86-DD19-E2BE-B48AAFD986AC}"/>
                </a:ext>
              </a:extLst>
            </p:cNvPr>
            <p:cNvSpPr/>
            <p:nvPr/>
          </p:nvSpPr>
          <p:spPr>
            <a:xfrm>
              <a:off x="6753808" y="3549150"/>
              <a:ext cx="2520000" cy="195500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Заголовок</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Підзаголовок </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Заголовок графіка</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Основний текст</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Важливе слово в тексті</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Графіки</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Схеми </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Примітки</a:t>
              </a:r>
            </a:p>
            <a:p>
              <a:pPr marL="285750" indent="-285750">
                <a:spcAft>
                  <a:spcPts val="600"/>
                </a:spcAft>
                <a:buFont typeface="Arial" panose="020B0604020202020204" pitchFamily="34" charset="0"/>
                <a:buChar char="•"/>
              </a:pPr>
              <a:r>
                <a:rPr lang="uk-UA" sz="1600" dirty="0">
                  <a:solidFill>
                    <a:schemeClr val="tx1"/>
                  </a:solidFill>
                  <a:ea typeface="Roboto Black" panose="02000000000000000000" pitchFamily="2" charset="0"/>
                </a:rPr>
                <a:t>…</a:t>
              </a:r>
            </a:p>
          </p:txBody>
        </p:sp>
        <p:grpSp>
          <p:nvGrpSpPr>
            <p:cNvPr id="25" name="Группа 24">
              <a:extLst>
                <a:ext uri="{FF2B5EF4-FFF2-40B4-BE49-F238E27FC236}">
                  <a16:creationId xmlns:a16="http://schemas.microsoft.com/office/drawing/2014/main" id="{FBEBE1F7-245C-B2FB-4FD5-DFCEB2379CDE}"/>
                </a:ext>
              </a:extLst>
            </p:cNvPr>
            <p:cNvGrpSpPr/>
            <p:nvPr/>
          </p:nvGrpSpPr>
          <p:grpSpPr>
            <a:xfrm>
              <a:off x="7136670" y="2014287"/>
              <a:ext cx="1754276" cy="1294563"/>
              <a:chOff x="8712200" y="2014287"/>
              <a:chExt cx="1754276" cy="1294563"/>
            </a:xfrm>
          </p:grpSpPr>
          <p:sp>
            <p:nvSpPr>
              <p:cNvPr id="19" name="Прямокутник: округлені кути 35">
                <a:extLst>
                  <a:ext uri="{FF2B5EF4-FFF2-40B4-BE49-F238E27FC236}">
                    <a16:creationId xmlns:a16="http://schemas.microsoft.com/office/drawing/2014/main" id="{25E23C4F-9116-865C-86F4-5C048D81999E}"/>
                  </a:ext>
                </a:extLst>
              </p:cNvPr>
              <p:cNvSpPr/>
              <p:nvPr/>
            </p:nvSpPr>
            <p:spPr>
              <a:xfrm>
                <a:off x="8712200" y="2794000"/>
                <a:ext cx="1754276" cy="514850"/>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600" dirty="0">
                    <a:latin typeface="+mj-lt"/>
                  </a:rPr>
                  <a:t>5+ шрифтів</a:t>
                </a:r>
                <a:endParaRPr lang="en-US" sz="1600" dirty="0">
                  <a:latin typeface="+mj-lt"/>
                </a:endParaRPr>
              </a:p>
            </p:txBody>
          </p:sp>
          <p:pic>
            <p:nvPicPr>
              <p:cNvPr id="22" name="Графіка 39" descr="Thumbs up sign with solid fill">
                <a:extLst>
                  <a:ext uri="{FF2B5EF4-FFF2-40B4-BE49-F238E27FC236}">
                    <a16:creationId xmlns:a16="http://schemas.microsoft.com/office/drawing/2014/main" id="{28A1AE97-BB98-3824-4F56-D9E892D8408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V="1">
                <a:off x="9319338" y="2014287"/>
                <a:ext cx="540000" cy="540000"/>
              </a:xfrm>
              <a:prstGeom prst="rect">
                <a:avLst/>
              </a:prstGeom>
            </p:spPr>
          </p:pic>
        </p:grpSp>
      </p:grpSp>
      <p:cxnSp>
        <p:nvCxnSpPr>
          <p:cNvPr id="30" name="Прямая соединительная линия 29">
            <a:extLst>
              <a:ext uri="{FF2B5EF4-FFF2-40B4-BE49-F238E27FC236}">
                <a16:creationId xmlns:a16="http://schemas.microsoft.com/office/drawing/2014/main" id="{B909C034-56F0-EDD3-CF02-D0D69DBD1D3E}"/>
              </a:ext>
            </a:extLst>
          </p:cNvPr>
          <p:cNvCxnSpPr/>
          <p:nvPr/>
        </p:nvCxnSpPr>
        <p:spPr>
          <a:xfrm>
            <a:off x="3516525" y="2133600"/>
            <a:ext cx="0" cy="47244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a:extLst>
              <a:ext uri="{FF2B5EF4-FFF2-40B4-BE49-F238E27FC236}">
                <a16:creationId xmlns:a16="http://schemas.microsoft.com/office/drawing/2014/main" id="{03212496-C1F7-7D7A-04E1-9F8DF4721BDD}"/>
              </a:ext>
            </a:extLst>
          </p:cNvPr>
          <p:cNvCxnSpPr/>
          <p:nvPr/>
        </p:nvCxnSpPr>
        <p:spPr>
          <a:xfrm>
            <a:off x="6399737" y="2133600"/>
            <a:ext cx="0" cy="472440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22578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a:extLst>
              <a:ext uri="{FF2B5EF4-FFF2-40B4-BE49-F238E27FC236}">
                <a16:creationId xmlns:a16="http://schemas.microsoft.com/office/drawing/2014/main" id="{3572C159-98CD-D304-145E-862C98FAE001}"/>
              </a:ext>
            </a:extLst>
          </p:cNvPr>
          <p:cNvSpPr>
            <a:spLocks noGrp="1"/>
          </p:cNvSpPr>
          <p:nvPr>
            <p:ph type="body" sz="quarter" idx="10"/>
          </p:nvPr>
        </p:nvSpPr>
        <p:spPr>
          <a:xfrm>
            <a:off x="814919" y="559106"/>
            <a:ext cx="10687817" cy="1080000"/>
          </a:xfrm>
        </p:spPr>
        <p:txBody>
          <a:bodyPr/>
          <a:lstStyle/>
          <a:p>
            <a:r>
              <a:rPr lang="uk-UA" dirty="0">
                <a:solidFill>
                  <a:schemeClr val="accent5"/>
                </a:solidFill>
              </a:rPr>
              <a:t>Використовуйте стандартні шрифти;</a:t>
            </a:r>
            <a:r>
              <a:rPr lang="uk-UA" dirty="0">
                <a:solidFill>
                  <a:schemeClr val="accent1"/>
                </a:solidFill>
              </a:rPr>
              <a:t> гратися з екзотичними шрифтами спочатку не варто</a:t>
            </a:r>
            <a:endParaRPr lang="en-US" dirty="0">
              <a:solidFill>
                <a:schemeClr val="accent1"/>
              </a:solidFill>
            </a:endParaRPr>
          </a:p>
        </p:txBody>
      </p:sp>
      <p:sp>
        <p:nvSpPr>
          <p:cNvPr id="7" name="Заголовок 1">
            <a:extLst>
              <a:ext uri="{FF2B5EF4-FFF2-40B4-BE49-F238E27FC236}">
                <a16:creationId xmlns:a16="http://schemas.microsoft.com/office/drawing/2014/main" id="{46BAA65C-D9B2-C173-375B-C1FFC944EE1D}"/>
              </a:ext>
            </a:extLst>
          </p:cNvPr>
          <p:cNvSpPr txBox="1">
            <a:spLocks/>
          </p:cNvSpPr>
          <p:nvPr/>
        </p:nvSpPr>
        <p:spPr>
          <a:xfrm>
            <a:off x="4436033" y="3096601"/>
            <a:ext cx="4344286"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Times New Roman" panose="02020603050405020304" pitchFamily="18" charset="0"/>
                <a:cs typeface="Times New Roman" panose="02020603050405020304" pitchFamily="18" charset="0"/>
              </a:rPr>
              <a:t>Times New Roman</a:t>
            </a:r>
            <a:endParaRPr lang="uk-UA" sz="3600" dirty="0">
              <a:latin typeface="Times New Roman" panose="02020603050405020304" pitchFamily="18" charset="0"/>
              <a:cs typeface="Times New Roman" panose="02020603050405020304" pitchFamily="18" charset="0"/>
            </a:endParaRPr>
          </a:p>
        </p:txBody>
      </p:sp>
      <p:sp>
        <p:nvSpPr>
          <p:cNvPr id="8" name="Заголовок 1">
            <a:extLst>
              <a:ext uri="{FF2B5EF4-FFF2-40B4-BE49-F238E27FC236}">
                <a16:creationId xmlns:a16="http://schemas.microsoft.com/office/drawing/2014/main" id="{62788F9D-E52F-5C19-FCCA-E91A3B062CDB}"/>
              </a:ext>
            </a:extLst>
          </p:cNvPr>
          <p:cNvSpPr txBox="1">
            <a:spLocks/>
          </p:cNvSpPr>
          <p:nvPr/>
        </p:nvSpPr>
        <p:spPr>
          <a:xfrm>
            <a:off x="4436033" y="3932450"/>
            <a:ext cx="4344286"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Comic Sans MS" panose="030F0702030302020204" pitchFamily="66" charset="0"/>
              </a:rPr>
              <a:t>Comic Sans</a:t>
            </a:r>
            <a:endParaRPr lang="uk-UA" sz="3600" dirty="0">
              <a:latin typeface="Comic Sans MS" panose="030F0702030302020204" pitchFamily="66" charset="0"/>
            </a:endParaRPr>
          </a:p>
        </p:txBody>
      </p:sp>
      <p:sp>
        <p:nvSpPr>
          <p:cNvPr id="9" name="Заголовок 1">
            <a:extLst>
              <a:ext uri="{FF2B5EF4-FFF2-40B4-BE49-F238E27FC236}">
                <a16:creationId xmlns:a16="http://schemas.microsoft.com/office/drawing/2014/main" id="{01DD7BD6-7004-E8C8-183D-866D8DA756A7}"/>
              </a:ext>
            </a:extLst>
          </p:cNvPr>
          <p:cNvSpPr txBox="1">
            <a:spLocks/>
          </p:cNvSpPr>
          <p:nvPr/>
        </p:nvSpPr>
        <p:spPr>
          <a:xfrm>
            <a:off x="4436033" y="4768299"/>
            <a:ext cx="4344286"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Segoe Script" panose="030B0504020000000003" pitchFamily="66" charset="0"/>
              </a:rPr>
              <a:t>Segoe Script</a:t>
            </a:r>
            <a:endParaRPr lang="uk-UA" sz="3600" dirty="0">
              <a:latin typeface="Segoe Script" panose="030B0504020000000003" pitchFamily="66" charset="0"/>
            </a:endParaRPr>
          </a:p>
        </p:txBody>
      </p:sp>
      <p:grpSp>
        <p:nvGrpSpPr>
          <p:cNvPr id="32" name="Группа 31">
            <a:extLst>
              <a:ext uri="{FF2B5EF4-FFF2-40B4-BE49-F238E27FC236}">
                <a16:creationId xmlns:a16="http://schemas.microsoft.com/office/drawing/2014/main" id="{31BEC6E0-4B1D-B1EA-00C2-E85F426964D3}"/>
              </a:ext>
            </a:extLst>
          </p:cNvPr>
          <p:cNvGrpSpPr/>
          <p:nvPr/>
        </p:nvGrpSpPr>
        <p:grpSpPr>
          <a:xfrm>
            <a:off x="814388" y="2527443"/>
            <a:ext cx="3355495" cy="3817795"/>
            <a:chOff x="814388" y="2527443"/>
            <a:chExt cx="3355495" cy="3817795"/>
          </a:xfrm>
        </p:grpSpPr>
        <p:sp>
          <p:nvSpPr>
            <p:cNvPr id="3" name="Заголовок 1">
              <a:extLst>
                <a:ext uri="{FF2B5EF4-FFF2-40B4-BE49-F238E27FC236}">
                  <a16:creationId xmlns:a16="http://schemas.microsoft.com/office/drawing/2014/main" id="{B3CDF394-75EE-E05F-F8B6-D7A117A46A3B}"/>
                </a:ext>
              </a:extLst>
            </p:cNvPr>
            <p:cNvSpPr txBox="1">
              <a:spLocks/>
            </p:cNvSpPr>
            <p:nvPr/>
          </p:nvSpPr>
          <p:spPr>
            <a:xfrm>
              <a:off x="1052135" y="3096601"/>
              <a:ext cx="2880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Arial" panose="020B0604020202020204" pitchFamily="34" charset="0"/>
                  <a:cs typeface="Arial" panose="020B0604020202020204" pitchFamily="34" charset="0"/>
                </a:rPr>
                <a:t>Arial</a:t>
              </a:r>
              <a:endParaRPr lang="uk-UA" sz="3600" dirty="0">
                <a:latin typeface="Arial" panose="020B0604020202020204" pitchFamily="34" charset="0"/>
                <a:cs typeface="Arial" panose="020B0604020202020204" pitchFamily="34" charset="0"/>
              </a:endParaRPr>
            </a:p>
          </p:txBody>
        </p:sp>
        <p:sp>
          <p:nvSpPr>
            <p:cNvPr id="4" name="Заголовок 1">
              <a:extLst>
                <a:ext uri="{FF2B5EF4-FFF2-40B4-BE49-F238E27FC236}">
                  <a16:creationId xmlns:a16="http://schemas.microsoft.com/office/drawing/2014/main" id="{2FC2BDA9-B46C-692E-F88B-4EBE26E02A2B}"/>
                </a:ext>
              </a:extLst>
            </p:cNvPr>
            <p:cNvSpPr txBox="1">
              <a:spLocks/>
            </p:cNvSpPr>
            <p:nvPr/>
          </p:nvSpPr>
          <p:spPr>
            <a:xfrm>
              <a:off x="1052135" y="3932450"/>
              <a:ext cx="2880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Calibri" panose="020F0502020204030204" pitchFamily="34" charset="0"/>
                  <a:cs typeface="Calibri" panose="020F0502020204030204" pitchFamily="34" charset="0"/>
                </a:rPr>
                <a:t>Calibri </a:t>
              </a:r>
              <a:endParaRPr lang="uk-UA" sz="3600" dirty="0">
                <a:latin typeface="Calibri" panose="020F0502020204030204" pitchFamily="34" charset="0"/>
                <a:cs typeface="Calibri" panose="020F0502020204030204" pitchFamily="34" charset="0"/>
              </a:endParaRPr>
            </a:p>
          </p:txBody>
        </p:sp>
        <p:sp>
          <p:nvSpPr>
            <p:cNvPr id="5" name="Заголовок 1">
              <a:extLst>
                <a:ext uri="{FF2B5EF4-FFF2-40B4-BE49-F238E27FC236}">
                  <a16:creationId xmlns:a16="http://schemas.microsoft.com/office/drawing/2014/main" id="{AEF6E2D1-1956-FA16-2099-799DF18E39DC}"/>
                </a:ext>
              </a:extLst>
            </p:cNvPr>
            <p:cNvSpPr txBox="1">
              <a:spLocks/>
            </p:cNvSpPr>
            <p:nvPr/>
          </p:nvSpPr>
          <p:spPr>
            <a:xfrm>
              <a:off x="1052135" y="4768299"/>
              <a:ext cx="2880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Tahoma" panose="020B0604030504040204" pitchFamily="34" charset="0"/>
                  <a:ea typeface="Tahoma" panose="020B0604030504040204" pitchFamily="34" charset="0"/>
                  <a:cs typeface="Tahoma" panose="020B0604030504040204" pitchFamily="34" charset="0"/>
                </a:rPr>
                <a:t>Tahoma</a:t>
              </a:r>
              <a:endParaRPr lang="uk-UA" sz="3600" dirty="0">
                <a:latin typeface="Tahoma" panose="020B0604030504040204" pitchFamily="34" charset="0"/>
                <a:ea typeface="Tahoma" panose="020B0604030504040204" pitchFamily="34" charset="0"/>
                <a:cs typeface="Tahoma" panose="020B0604030504040204" pitchFamily="34" charset="0"/>
              </a:endParaRPr>
            </a:p>
          </p:txBody>
        </p:sp>
        <p:sp>
          <p:nvSpPr>
            <p:cNvPr id="6" name="Заголовок 1">
              <a:extLst>
                <a:ext uri="{FF2B5EF4-FFF2-40B4-BE49-F238E27FC236}">
                  <a16:creationId xmlns:a16="http://schemas.microsoft.com/office/drawing/2014/main" id="{F454A81D-8449-7CCE-B202-D251559B60F7}"/>
                </a:ext>
              </a:extLst>
            </p:cNvPr>
            <p:cNvSpPr txBox="1">
              <a:spLocks/>
            </p:cNvSpPr>
            <p:nvPr/>
          </p:nvSpPr>
          <p:spPr>
            <a:xfrm>
              <a:off x="1052135" y="5604147"/>
              <a:ext cx="2880000"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dirty="0">
                  <a:latin typeface="Helvetica" panose="020B0604020202020204" pitchFamily="34" charset="0"/>
                  <a:cs typeface="Helvetica" panose="020B0604020202020204" pitchFamily="34" charset="0"/>
                </a:rPr>
                <a:t>Helvetica</a:t>
              </a:r>
              <a:endParaRPr lang="uk-UA" sz="3600" dirty="0">
                <a:latin typeface="Helvetica" panose="020B0604020202020204" pitchFamily="34" charset="0"/>
                <a:cs typeface="Helvetica" panose="020B0604020202020204" pitchFamily="34" charset="0"/>
              </a:endParaRPr>
            </a:p>
          </p:txBody>
        </p:sp>
        <p:sp>
          <p:nvSpPr>
            <p:cNvPr id="10" name="Прямокутник: округлені кути 25">
              <a:extLst>
                <a:ext uri="{FF2B5EF4-FFF2-40B4-BE49-F238E27FC236}">
                  <a16:creationId xmlns:a16="http://schemas.microsoft.com/office/drawing/2014/main" id="{F27471A4-C8D5-E642-C441-80C3FED17616}"/>
                </a:ext>
              </a:extLst>
            </p:cNvPr>
            <p:cNvSpPr/>
            <p:nvPr/>
          </p:nvSpPr>
          <p:spPr>
            <a:xfrm>
              <a:off x="814388" y="2527443"/>
              <a:ext cx="3355495" cy="3817795"/>
            </a:xfrm>
            <a:prstGeom prst="roundRect">
              <a:avLst>
                <a:gd name="adj" fmla="val 7786"/>
              </a:avLst>
            </a:prstGeom>
            <a:noFill/>
            <a:ln>
              <a:solidFill>
                <a:srgbClr val="4CA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Графіка 36" descr="Thumbs up sign with solid fill">
            <a:extLst>
              <a:ext uri="{FF2B5EF4-FFF2-40B4-BE49-F238E27FC236}">
                <a16:creationId xmlns:a16="http://schemas.microsoft.com/office/drawing/2014/main" id="{7A022A29-54A1-CFA7-5FAC-24F799074A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42135" y="2048549"/>
            <a:ext cx="900000" cy="900000"/>
          </a:xfrm>
          <a:prstGeom prst="rect">
            <a:avLst/>
          </a:prstGeom>
        </p:spPr>
      </p:pic>
      <p:sp>
        <p:nvSpPr>
          <p:cNvPr id="12" name="Прямокутник: округлені кути 39">
            <a:extLst>
              <a:ext uri="{FF2B5EF4-FFF2-40B4-BE49-F238E27FC236}">
                <a16:creationId xmlns:a16="http://schemas.microsoft.com/office/drawing/2014/main" id="{FFA6F25E-E0B9-B4E7-EE64-2BDE98C92622}"/>
              </a:ext>
            </a:extLst>
          </p:cNvPr>
          <p:cNvSpPr/>
          <p:nvPr/>
        </p:nvSpPr>
        <p:spPr>
          <a:xfrm>
            <a:off x="4565592" y="2527443"/>
            <a:ext cx="4085169" cy="3817795"/>
          </a:xfrm>
          <a:prstGeom prst="roundRect">
            <a:avLst>
              <a:gd name="adj" fmla="val 7248"/>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Графіка 37" descr="Thumbs up sign with solid fill">
            <a:extLst>
              <a:ext uri="{FF2B5EF4-FFF2-40B4-BE49-F238E27FC236}">
                <a16:creationId xmlns:a16="http://schemas.microsoft.com/office/drawing/2014/main" id="{6F504D89-1F0F-33D1-0E42-67DF3B45D3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V="1">
            <a:off x="6158176" y="2048549"/>
            <a:ext cx="900000" cy="900000"/>
          </a:xfrm>
          <a:prstGeom prst="rect">
            <a:avLst/>
          </a:prstGeom>
        </p:spPr>
      </p:pic>
    </p:spTree>
    <p:extLst>
      <p:ext uri="{BB962C8B-B14F-4D97-AF65-F5344CB8AC3E}">
        <p14:creationId xmlns:p14="http://schemas.microsoft.com/office/powerpoint/2010/main" val="6103563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єкт 4" hidden="1">
            <a:extLst>
              <a:ext uri="{FF2B5EF4-FFF2-40B4-BE49-F238E27FC236}">
                <a16:creationId xmlns:a16="http://schemas.microsoft.com/office/drawing/2014/main" id="{5D8ADA94-0022-47FD-B11E-9EE20982B8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Об'єкт 4" hidden="1">
                        <a:extLst>
                          <a:ext uri="{FF2B5EF4-FFF2-40B4-BE49-F238E27FC236}">
                            <a16:creationId xmlns:a16="http://schemas.microsoft.com/office/drawing/2014/main" id="{5D8ADA94-0022-47FD-B11E-9EE20982B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Прямокутник 6" hidden="1">
            <a:extLst>
              <a:ext uri="{FF2B5EF4-FFF2-40B4-BE49-F238E27FC236}">
                <a16:creationId xmlns:a16="http://schemas.microsoft.com/office/drawing/2014/main" id="{B5FCAB56-6AE7-4B67-B5BC-639A83AFFA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uk-UA" sz="2800" dirty="0">
              <a:latin typeface="Franklin Gothic Demi" panose="020B0703020102020204" pitchFamily="34" charset="0"/>
              <a:sym typeface="Franklin Gothic Demi" panose="020B0703020102020204" pitchFamily="34" charset="0"/>
            </a:endParaRPr>
          </a:p>
        </p:txBody>
      </p:sp>
      <p:sp>
        <p:nvSpPr>
          <p:cNvPr id="51" name="Прямокутник 50" hidden="1">
            <a:extLst>
              <a:ext uri="{FF2B5EF4-FFF2-40B4-BE49-F238E27FC236}">
                <a16:creationId xmlns:a16="http://schemas.microsoft.com/office/drawing/2014/main" id="{56033CCB-35D0-4419-99E0-442E0286FFC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Roboto" panose="02000000000000000000" pitchFamily="2" charset="0"/>
              <a:cs typeface="Arial" panose="020B0604020202020204" pitchFamily="34" charset="0"/>
            </a:endParaRPr>
          </a:p>
        </p:txBody>
      </p:sp>
      <p:grpSp>
        <p:nvGrpSpPr>
          <p:cNvPr id="8" name="Групувати 7">
            <a:extLst>
              <a:ext uri="{FF2B5EF4-FFF2-40B4-BE49-F238E27FC236}">
                <a16:creationId xmlns:a16="http://schemas.microsoft.com/office/drawing/2014/main" id="{355A4737-EC7C-4F99-8C2B-EA7DBCC96796}"/>
              </a:ext>
            </a:extLst>
          </p:cNvPr>
          <p:cNvGrpSpPr/>
          <p:nvPr/>
        </p:nvGrpSpPr>
        <p:grpSpPr>
          <a:xfrm>
            <a:off x="982889" y="2568208"/>
            <a:ext cx="10226221" cy="1721585"/>
            <a:chOff x="982889" y="2566945"/>
            <a:chExt cx="10226221" cy="1721585"/>
          </a:xfrm>
        </p:grpSpPr>
        <p:sp>
          <p:nvSpPr>
            <p:cNvPr id="12" name="Заголовок 1">
              <a:extLst>
                <a:ext uri="{FF2B5EF4-FFF2-40B4-BE49-F238E27FC236}">
                  <a16:creationId xmlns:a16="http://schemas.microsoft.com/office/drawing/2014/main" id="{5967896C-DD9E-4688-94DE-547DED4ABD58}"/>
                </a:ext>
              </a:extLst>
            </p:cNvPr>
            <p:cNvSpPr txBox="1">
              <a:spLocks/>
            </p:cNvSpPr>
            <p:nvPr/>
          </p:nvSpPr>
          <p:spPr>
            <a:xfrm>
              <a:off x="982889" y="2566945"/>
              <a:ext cx="10226221"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err="1"/>
                <a:t>Ermilov</a:t>
              </a:r>
              <a:r>
                <a:rPr lang="uk-UA" dirty="0"/>
                <a:t> – заголовки </a:t>
              </a:r>
            </a:p>
          </p:txBody>
        </p:sp>
        <p:sp>
          <p:nvSpPr>
            <p:cNvPr id="13" name="Заголовок 1">
              <a:extLst>
                <a:ext uri="{FF2B5EF4-FFF2-40B4-BE49-F238E27FC236}">
                  <a16:creationId xmlns:a16="http://schemas.microsoft.com/office/drawing/2014/main" id="{F72A8025-8E12-4C9A-A770-0D429B97A52D}"/>
                </a:ext>
              </a:extLst>
            </p:cNvPr>
            <p:cNvSpPr txBox="1">
              <a:spLocks/>
            </p:cNvSpPr>
            <p:nvPr/>
          </p:nvSpPr>
          <p:spPr>
            <a:xfrm>
              <a:off x="982889" y="3623733"/>
              <a:ext cx="10226221" cy="664797"/>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mn-lt"/>
                </a:rPr>
                <a:t>Roboto</a:t>
              </a:r>
              <a:r>
                <a:rPr lang="uk-UA" dirty="0">
                  <a:latin typeface="+mn-lt"/>
                </a:rPr>
                <a:t> – основний текст</a:t>
              </a:r>
            </a:p>
          </p:txBody>
        </p:sp>
      </p:grpSp>
      <p:pic>
        <p:nvPicPr>
          <p:cNvPr id="2050" name="Picture 2" descr="Backhand Index Pointing Down on Apple iOS 14.2">
            <a:extLst>
              <a:ext uri="{FF2B5EF4-FFF2-40B4-BE49-F238E27FC236}">
                <a16:creationId xmlns:a16="http://schemas.microsoft.com/office/drawing/2014/main" id="{C0858402-1A79-49F6-8B93-C6FAEC0DFC3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2889" y="1700088"/>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кутник 20">
            <a:extLst>
              <a:ext uri="{FF2B5EF4-FFF2-40B4-BE49-F238E27FC236}">
                <a16:creationId xmlns:a16="http://schemas.microsoft.com/office/drawing/2014/main" id="{77C88940-2526-41B0-83D8-FDB567495025}"/>
              </a:ext>
            </a:extLst>
          </p:cNvPr>
          <p:cNvSpPr/>
          <p:nvPr/>
        </p:nvSpPr>
        <p:spPr>
          <a:xfrm>
            <a:off x="982889" y="1070400"/>
            <a:ext cx="2370638" cy="4328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uk-UA" sz="1600" dirty="0">
                <a:solidFill>
                  <a:schemeClr val="bg1">
                    <a:lumMod val="75000"/>
                  </a:schemeClr>
                </a:solidFill>
                <a:latin typeface="+mj-lt"/>
                <a:hlinkClick r:id="rId7"/>
              </a:rPr>
              <a:t>Шрифти з цієї презентації</a:t>
            </a:r>
            <a:endParaRPr lang="en-US" sz="1600" dirty="0">
              <a:solidFill>
                <a:schemeClr val="bg1">
                  <a:lumMod val="75000"/>
                </a:schemeClr>
              </a:solidFill>
              <a:latin typeface="+mj-lt"/>
            </a:endParaRPr>
          </a:p>
        </p:txBody>
      </p:sp>
    </p:spTree>
    <p:extLst>
      <p:ext uri="{BB962C8B-B14F-4D97-AF65-F5344CB8AC3E}">
        <p14:creationId xmlns:p14="http://schemas.microsoft.com/office/powerpoint/2010/main" val="239706815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554B64-4457-450E-87F9-A52B139EA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a:extLst>
                          <a:ext uri="{FF2B5EF4-FFF2-40B4-BE49-F238E27FC236}">
                            <a16:creationId xmlns:a16="http://schemas.microsoft.com/office/drawing/2014/main" id="{1C554B64-4457-450E-87F9-A52B139EA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Прямокутник 13">
            <a:extLst>
              <a:ext uri="{FF2B5EF4-FFF2-40B4-BE49-F238E27FC236}">
                <a16:creationId xmlns:a16="http://schemas.microsoft.com/office/drawing/2014/main" id="{A14FE9C0-B3BB-4470-824A-5C18DF861D38}"/>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uk-UA" sz="4800" dirty="0">
              <a:latin typeface="Franklin Gothic Heavy" panose="020B0903020102020204" pitchFamily="34" charset="0"/>
            </a:endParaRPr>
          </a:p>
        </p:txBody>
      </p:sp>
      <p:sp>
        <p:nvSpPr>
          <p:cNvPr id="2" name="Текст 1">
            <a:extLst>
              <a:ext uri="{FF2B5EF4-FFF2-40B4-BE49-F238E27FC236}">
                <a16:creationId xmlns:a16="http://schemas.microsoft.com/office/drawing/2014/main" id="{B98A5077-16B2-5216-7BF4-892A3FC6E796}"/>
              </a:ext>
            </a:extLst>
          </p:cNvPr>
          <p:cNvSpPr>
            <a:spLocks noGrp="1"/>
          </p:cNvSpPr>
          <p:nvPr>
            <p:ph type="body" sz="quarter" idx="10"/>
          </p:nvPr>
        </p:nvSpPr>
        <p:spPr>
          <a:xfrm>
            <a:off x="814919" y="2231923"/>
            <a:ext cx="10562167" cy="2113014"/>
          </a:xfrm>
        </p:spPr>
        <p:txBody>
          <a:bodyPr/>
          <a:lstStyle/>
          <a:p>
            <a:r>
              <a:rPr lang="uk-UA" sz="4000" dirty="0">
                <a:solidFill>
                  <a:schemeClr val="bg1"/>
                </a:solidFill>
                <a:latin typeface="+mj-lt"/>
              </a:rPr>
              <a:t>Заборонені елементи</a:t>
            </a:r>
          </a:p>
        </p:txBody>
      </p:sp>
      <p:sp>
        <p:nvSpPr>
          <p:cNvPr id="4" name="Овал 3">
            <a:extLst>
              <a:ext uri="{FF2B5EF4-FFF2-40B4-BE49-F238E27FC236}">
                <a16:creationId xmlns:a16="http://schemas.microsoft.com/office/drawing/2014/main" id="{1ECB4A92-CA42-8B12-1424-AB3FA5C7E9AD}"/>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8" name="Группа 7">
            <a:extLst>
              <a:ext uri="{FF2B5EF4-FFF2-40B4-BE49-F238E27FC236}">
                <a16:creationId xmlns:a16="http://schemas.microsoft.com/office/drawing/2014/main" id="{B5AA9DCB-CA64-EF9D-EF27-0CBFE6BB8D60}"/>
              </a:ext>
            </a:extLst>
          </p:cNvPr>
          <p:cNvGrpSpPr/>
          <p:nvPr/>
        </p:nvGrpSpPr>
        <p:grpSpPr>
          <a:xfrm>
            <a:off x="814919" y="4412512"/>
            <a:ext cx="5613554" cy="540000"/>
            <a:chOff x="1020723" y="4412512"/>
            <a:chExt cx="5613554" cy="540000"/>
          </a:xfrm>
          <a:solidFill>
            <a:schemeClr val="accent5"/>
          </a:solidFill>
        </p:grpSpPr>
        <p:sp>
          <p:nvSpPr>
            <p:cNvPr id="3" name="Прямокутник: округлені кути 6">
              <a:extLst>
                <a:ext uri="{FF2B5EF4-FFF2-40B4-BE49-F238E27FC236}">
                  <a16:creationId xmlns:a16="http://schemas.microsoft.com/office/drawing/2014/main" id="{7AC435ED-0AE1-6B4F-7CAC-C0AAD82F143E}"/>
                </a:ext>
              </a:extLst>
            </p:cNvPr>
            <p:cNvSpPr/>
            <p:nvPr/>
          </p:nvSpPr>
          <p:spPr>
            <a:xfrm>
              <a:off x="1020723" y="4412512"/>
              <a:ext cx="1404000" cy="5400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SmartArt</a:t>
              </a:r>
            </a:p>
          </p:txBody>
        </p:sp>
        <p:sp>
          <p:nvSpPr>
            <p:cNvPr id="5" name="Прямокутник: округлені кути 11">
              <a:extLst>
                <a:ext uri="{FF2B5EF4-FFF2-40B4-BE49-F238E27FC236}">
                  <a16:creationId xmlns:a16="http://schemas.microsoft.com/office/drawing/2014/main" id="{F0B14690-3BD3-1D03-7D55-3B0C7269C238}"/>
                </a:ext>
              </a:extLst>
            </p:cNvPr>
            <p:cNvSpPr/>
            <p:nvPr/>
          </p:nvSpPr>
          <p:spPr>
            <a:xfrm>
              <a:off x="2639500" y="4412512"/>
              <a:ext cx="1332000" cy="5400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j-lt"/>
                </a:rPr>
                <a:t>WordArt</a:t>
              </a:r>
            </a:p>
          </p:txBody>
        </p:sp>
        <p:sp>
          <p:nvSpPr>
            <p:cNvPr id="7" name="Прямокутник: округлені кути 12">
              <a:extLst>
                <a:ext uri="{FF2B5EF4-FFF2-40B4-BE49-F238E27FC236}">
                  <a16:creationId xmlns:a16="http://schemas.microsoft.com/office/drawing/2014/main" id="{BFCF8335-88AA-8CB1-2A60-844037D64BB0}"/>
                </a:ext>
              </a:extLst>
            </p:cNvPr>
            <p:cNvSpPr/>
            <p:nvPr/>
          </p:nvSpPr>
          <p:spPr>
            <a:xfrm>
              <a:off x="4186277" y="4412512"/>
              <a:ext cx="2448000" cy="5400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err="1">
                  <a:latin typeface="+mj-lt"/>
                </a:rPr>
                <a:t>Ефекти</a:t>
              </a:r>
              <a:r>
                <a:rPr lang="ru-RU" dirty="0">
                  <a:latin typeface="+mj-lt"/>
                </a:rPr>
                <a:t> для </a:t>
              </a:r>
              <a:r>
                <a:rPr lang="ru-RU" dirty="0" err="1">
                  <a:latin typeface="+mj-lt"/>
                </a:rPr>
                <a:t>фігур</a:t>
              </a:r>
              <a:endParaRPr lang="ru-RU" dirty="0">
                <a:latin typeface="+mj-lt"/>
              </a:endParaRPr>
            </a:p>
          </p:txBody>
        </p:sp>
      </p:grpSp>
      <p:pic>
        <p:nvPicPr>
          <p:cNvPr id="10" name="Рисунок 9" descr="Пожилая женщина, большой палец вниз">
            <a:extLst>
              <a:ext uri="{FF2B5EF4-FFF2-40B4-BE49-F238E27FC236}">
                <a16:creationId xmlns:a16="http://schemas.microsoft.com/office/drawing/2014/main" id="{0B777CA6-07FE-706D-2819-F47952C3B1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84530" y="1059873"/>
            <a:ext cx="1926968" cy="4738255"/>
          </a:xfrm>
          <a:prstGeom prst="rect">
            <a:avLst/>
          </a:prstGeom>
        </p:spPr>
      </p:pic>
    </p:spTree>
    <p:extLst>
      <p:ext uri="{BB962C8B-B14F-4D97-AF65-F5344CB8AC3E}">
        <p14:creationId xmlns:p14="http://schemas.microsoft.com/office/powerpoint/2010/main" val="25092771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хема 2">
            <a:extLst>
              <a:ext uri="{FF2B5EF4-FFF2-40B4-BE49-F238E27FC236}">
                <a16:creationId xmlns:a16="http://schemas.microsoft.com/office/drawing/2014/main" id="{5CEAE2A4-6EF9-4449-8EF9-EE458C9A47C4}"/>
              </a:ext>
            </a:extLst>
          </p:cNvPr>
          <p:cNvGraphicFramePr/>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Овал 1">
            <a:extLst>
              <a:ext uri="{FF2B5EF4-FFF2-40B4-BE49-F238E27FC236}">
                <a16:creationId xmlns:a16="http://schemas.microsoft.com/office/drawing/2014/main" id="{2D56D302-1BFB-A167-20DD-4FD4AF06EC5C}"/>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27801240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кутник 2">
            <a:extLst>
              <a:ext uri="{FF2B5EF4-FFF2-40B4-BE49-F238E27FC236}">
                <a16:creationId xmlns:a16="http://schemas.microsoft.com/office/drawing/2014/main" id="{A7504478-1AD2-4B5D-9D70-ED3EA8A2BA40}"/>
              </a:ext>
            </a:extLst>
          </p:cNvPr>
          <p:cNvSpPr/>
          <p:nvPr/>
        </p:nvSpPr>
        <p:spPr>
          <a:xfrm>
            <a:off x="91983" y="728261"/>
            <a:ext cx="12008034" cy="5401479"/>
          </a:xfrm>
          <a:prstGeom prst="rect">
            <a:avLst/>
          </a:prstGeom>
          <a:noFill/>
        </p:spPr>
        <p:txBody>
          <a:bodyPr wrap="square" lIns="91440" tIns="45720" rIns="91440" bIns="45720">
            <a:spAutoFit/>
          </a:bodyPr>
          <a:lstStyle/>
          <a:p>
            <a:pPr algn="ctr"/>
            <a:r>
              <a:rPr lang="uk-UA" sz="115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Такі речі виглядають жахливо</a:t>
            </a:r>
          </a:p>
        </p:txBody>
      </p:sp>
      <p:sp>
        <p:nvSpPr>
          <p:cNvPr id="2" name="Овал 1">
            <a:extLst>
              <a:ext uri="{FF2B5EF4-FFF2-40B4-BE49-F238E27FC236}">
                <a16:creationId xmlns:a16="http://schemas.microsoft.com/office/drawing/2014/main" id="{4B8317FC-260E-13D6-F298-72D2B110560F}"/>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2536670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кутник 2">
            <a:extLst>
              <a:ext uri="{FF2B5EF4-FFF2-40B4-BE49-F238E27FC236}">
                <a16:creationId xmlns:a16="http://schemas.microsoft.com/office/drawing/2014/main" id="{A7504478-1AD2-4B5D-9D70-ED3EA8A2BA40}"/>
              </a:ext>
            </a:extLst>
          </p:cNvPr>
          <p:cNvSpPr/>
          <p:nvPr/>
        </p:nvSpPr>
        <p:spPr>
          <a:xfrm>
            <a:off x="91983" y="1351508"/>
            <a:ext cx="12008034" cy="4154984"/>
          </a:xfrm>
          <a:prstGeom prst="rect">
            <a:avLst/>
          </a:prstGeom>
          <a:noFill/>
        </p:spPr>
        <p:txBody>
          <a:bodyPr wrap="square" lIns="91440" tIns="45720" rIns="91440" bIns="45720">
            <a:spAutoFit/>
          </a:bodyPr>
          <a:lstStyle/>
          <a:p>
            <a:pPr algn="ctr"/>
            <a:r>
              <a:rPr lang="uk-UA" sz="8800" b="0" cap="none" spc="0" dirty="0">
                <a:ln w="0"/>
                <a:solidFill>
                  <a:schemeClr val="accent5"/>
                </a:solidFill>
                <a:effectLst/>
                <a:latin typeface="+mj-lt"/>
              </a:rPr>
              <a:t>Такі речі виглядають жахливо</a:t>
            </a:r>
          </a:p>
        </p:txBody>
      </p:sp>
      <p:sp>
        <p:nvSpPr>
          <p:cNvPr id="2" name="Овал 1">
            <a:extLst>
              <a:ext uri="{FF2B5EF4-FFF2-40B4-BE49-F238E27FC236}">
                <a16:creationId xmlns:a16="http://schemas.microsoft.com/office/drawing/2014/main" id="{BB06C00F-5EE8-157A-9A45-15095CA33D35}"/>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5233996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кутник 2">
            <a:extLst>
              <a:ext uri="{FF2B5EF4-FFF2-40B4-BE49-F238E27FC236}">
                <a16:creationId xmlns:a16="http://schemas.microsoft.com/office/drawing/2014/main" id="{11B27E33-982C-41EB-8679-5CE1119C7A23}"/>
              </a:ext>
            </a:extLst>
          </p:cNvPr>
          <p:cNvSpPr/>
          <p:nvPr/>
        </p:nvSpPr>
        <p:spPr>
          <a:xfrm>
            <a:off x="903498" y="1654629"/>
            <a:ext cx="3548743" cy="3548743"/>
          </a:xfrm>
          <a:prstGeom prst="rect">
            <a:avLst/>
          </a:prstGeom>
          <a:effectLst>
            <a:glow rad="228600">
              <a:schemeClr val="accent6">
                <a:satMod val="175000"/>
                <a:alpha val="40000"/>
              </a:schemeClr>
            </a:glow>
          </a:effectLst>
          <a:scene3d>
            <a:camera prst="orthographicFront"/>
            <a:lightRig rig="threePt" dir="t"/>
          </a:scene3d>
          <a:sp3d>
            <a:bevelT w="400050"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UA" dirty="0"/>
          </a:p>
        </p:txBody>
      </p:sp>
      <p:sp>
        <p:nvSpPr>
          <p:cNvPr id="4" name="Прямокутник 3">
            <a:extLst>
              <a:ext uri="{FF2B5EF4-FFF2-40B4-BE49-F238E27FC236}">
                <a16:creationId xmlns:a16="http://schemas.microsoft.com/office/drawing/2014/main" id="{D5EF1166-B9F6-420D-AC49-5C07A638EBEA}"/>
              </a:ext>
            </a:extLst>
          </p:cNvPr>
          <p:cNvSpPr/>
          <p:nvPr/>
        </p:nvSpPr>
        <p:spPr>
          <a:xfrm>
            <a:off x="5360244" y="1654629"/>
            <a:ext cx="3548743" cy="3548743"/>
          </a:xfrm>
          <a:prstGeom prst="rect">
            <a:avLst/>
          </a:prstGeom>
          <a:effectLst>
            <a:reflection blurRad="6350" stA="50000" endA="275" endPos="40000" dist="101600" dir="5400000" sy="-100000" algn="bl" rotWithShape="0"/>
          </a:effectLst>
          <a:scene3d>
            <a:camera prst="perspectiveLeft"/>
            <a:lightRig rig="threePt" dir="t"/>
          </a:scene3d>
          <a:sp3d>
            <a:bevelT w="400050"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UA" dirty="0"/>
          </a:p>
        </p:txBody>
      </p:sp>
      <p:sp>
        <p:nvSpPr>
          <p:cNvPr id="2" name="Овал 1">
            <a:extLst>
              <a:ext uri="{FF2B5EF4-FFF2-40B4-BE49-F238E27FC236}">
                <a16:creationId xmlns:a16="http://schemas.microsoft.com/office/drawing/2014/main" id="{E7B0B6D7-4443-B0E2-6BF4-6B27B3105B11}"/>
              </a:ext>
            </a:extLst>
          </p:cNvPr>
          <p:cNvSpPr/>
          <p:nvPr/>
        </p:nvSpPr>
        <p:spPr>
          <a:xfrm>
            <a:off x="9466117" y="4145972"/>
            <a:ext cx="2556000" cy="2556000"/>
          </a:xfrm>
          <a:prstGeom prst="ellipse">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66951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576AE79-652B-18A8-31D9-28C2BC3EA10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4" name="Объект 3" hidden="1">
                        <a:extLst>
                          <a:ext uri="{FF2B5EF4-FFF2-40B4-BE49-F238E27FC236}">
                            <a16:creationId xmlns:a16="http://schemas.microsoft.com/office/drawing/2014/main" id="{A576AE79-652B-18A8-31D9-28C2BC3EA100}"/>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Текст 4">
            <a:extLst>
              <a:ext uri="{FF2B5EF4-FFF2-40B4-BE49-F238E27FC236}">
                <a16:creationId xmlns:a16="http://schemas.microsoft.com/office/drawing/2014/main" id="{805F823C-4B4D-4EC8-15D7-D1C57874B9C0}"/>
              </a:ext>
            </a:extLst>
          </p:cNvPr>
          <p:cNvSpPr>
            <a:spLocks noGrp="1"/>
          </p:cNvSpPr>
          <p:nvPr>
            <p:ph type="body" sz="quarter" idx="10"/>
          </p:nvPr>
        </p:nvSpPr>
        <p:spPr/>
        <p:txBody>
          <a:bodyPr/>
          <a:lstStyle/>
          <a:p>
            <a:r>
              <a:rPr lang="ru-RU" dirty="0">
                <a:solidFill>
                  <a:schemeClr val="accent1"/>
                </a:solidFill>
              </a:rPr>
              <a:t>3. </a:t>
            </a:r>
            <a:r>
              <a:rPr lang="ru-RU" dirty="0" err="1">
                <a:solidFill>
                  <a:schemeClr val="accent1"/>
                </a:solidFill>
              </a:rPr>
              <a:t>Спочатку</a:t>
            </a:r>
            <a:r>
              <a:rPr lang="ru-RU" dirty="0">
                <a:solidFill>
                  <a:schemeClr val="accent1"/>
                </a:solidFill>
              </a:rPr>
              <a:t> </a:t>
            </a:r>
            <a:r>
              <a:rPr lang="ru-RU" dirty="0" err="1">
                <a:solidFill>
                  <a:schemeClr val="accent1"/>
                </a:solidFill>
              </a:rPr>
              <a:t>ви</a:t>
            </a:r>
            <a:r>
              <a:rPr lang="ru-RU" dirty="0">
                <a:solidFill>
                  <a:schemeClr val="accent1"/>
                </a:solidFill>
              </a:rPr>
              <a:t> </a:t>
            </a:r>
            <a:r>
              <a:rPr lang="ru-RU" dirty="0" err="1">
                <a:solidFill>
                  <a:schemeClr val="accent1"/>
                </a:solidFill>
              </a:rPr>
              <a:t>прописуєте</a:t>
            </a:r>
            <a:r>
              <a:rPr lang="ru-RU" dirty="0">
                <a:solidFill>
                  <a:schemeClr val="accent1"/>
                </a:solidFill>
              </a:rPr>
              <a:t> сторілайн просто на листочку</a:t>
            </a:r>
          </a:p>
        </p:txBody>
      </p:sp>
      <p:sp>
        <p:nvSpPr>
          <p:cNvPr id="2" name="Текст 1">
            <a:extLst>
              <a:ext uri="{FF2B5EF4-FFF2-40B4-BE49-F238E27FC236}">
                <a16:creationId xmlns:a16="http://schemas.microsoft.com/office/drawing/2014/main" id="{F0D269AA-E9EA-0090-5D83-9C9DC7794C1C}"/>
              </a:ext>
            </a:extLst>
          </p:cNvPr>
          <p:cNvSpPr txBox="1">
            <a:spLocks/>
          </p:cNvSpPr>
          <p:nvPr/>
        </p:nvSpPr>
        <p:spPr>
          <a:xfrm>
            <a:off x="814388" y="2133600"/>
            <a:ext cx="3632922" cy="211301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3200"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400"/>
              </a:spcAft>
            </a:pPr>
            <a:r>
              <a:rPr lang="ru-RU" sz="2800" dirty="0"/>
              <a:t>Сторілайн </a:t>
            </a:r>
            <a:r>
              <a:rPr lang="ru-RU" sz="2800" dirty="0" err="1"/>
              <a:t>потрібен</a:t>
            </a:r>
            <a:r>
              <a:rPr lang="ru-RU" sz="2800" dirty="0"/>
              <a:t> для того, </a:t>
            </a:r>
            <a:r>
              <a:rPr lang="ru-RU" sz="2800" dirty="0" err="1"/>
              <a:t>щоб</a:t>
            </a:r>
            <a:r>
              <a:rPr lang="ru-RU" sz="2800" dirty="0"/>
              <a:t> </a:t>
            </a:r>
            <a:r>
              <a:rPr lang="ru-RU" sz="2800" dirty="0" err="1"/>
              <a:t>розуміти</a:t>
            </a:r>
            <a:r>
              <a:rPr lang="ru-RU" sz="2800" dirty="0"/>
              <a:t>, яку </a:t>
            </a:r>
            <a:r>
              <a:rPr lang="ru-RU" sz="2800" dirty="0" err="1"/>
              <a:t>інформацію</a:t>
            </a:r>
            <a:r>
              <a:rPr lang="ru-RU" sz="2800" dirty="0"/>
              <a:t> </a:t>
            </a:r>
            <a:r>
              <a:rPr lang="ru-RU" sz="2800" dirty="0" err="1"/>
              <a:t>потрібно</a:t>
            </a:r>
            <a:r>
              <a:rPr lang="ru-RU" sz="2800" dirty="0"/>
              <a:t> </a:t>
            </a:r>
            <a:r>
              <a:rPr lang="ru-RU" sz="2800" dirty="0" err="1"/>
              <a:t>зібрати</a:t>
            </a:r>
            <a:endParaRPr lang="ru-RU" sz="2800" dirty="0"/>
          </a:p>
        </p:txBody>
      </p:sp>
      <p:pic>
        <p:nvPicPr>
          <p:cNvPr id="3" name="Рисунок 2">
            <a:extLst>
              <a:ext uri="{FF2B5EF4-FFF2-40B4-BE49-F238E27FC236}">
                <a16:creationId xmlns:a16="http://schemas.microsoft.com/office/drawing/2014/main" id="{B4A5F4D3-4FF6-AA38-F18A-21E6557A2E41}"/>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11200"/>
                    </a14:imgEffect>
                  </a14:imgLayer>
                </a14:imgProps>
              </a:ext>
            </a:extLst>
          </a:blip>
          <a:stretch>
            <a:fillRect/>
          </a:stretch>
        </p:blipFill>
        <p:spPr>
          <a:xfrm>
            <a:off x="4846061" y="2133600"/>
            <a:ext cx="4006994" cy="6055434"/>
          </a:xfrm>
          <a:prstGeom prst="roundRect">
            <a:avLst>
              <a:gd name="adj" fmla="val 6117"/>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541418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f.jOLfUYSHUPgJyF_YPh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YBlyflVVidlXWabKThP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VDNG">
      <a:dk1>
        <a:sysClr val="windowText" lastClr="000000"/>
      </a:dk1>
      <a:lt1>
        <a:sysClr val="window" lastClr="FFFFFF"/>
      </a:lt1>
      <a:dk2>
        <a:srgbClr val="031912"/>
      </a:dk2>
      <a:lt2>
        <a:srgbClr val="0F3E24"/>
      </a:lt2>
      <a:accent1>
        <a:srgbClr val="56683B"/>
      </a:accent1>
      <a:accent2>
        <a:srgbClr val="3D301E"/>
      </a:accent2>
      <a:accent3>
        <a:srgbClr val="797162"/>
      </a:accent3>
      <a:accent4>
        <a:srgbClr val="A7A16E"/>
      </a:accent4>
      <a:accent5>
        <a:srgbClr val="C67A2E"/>
      </a:accent5>
      <a:accent6>
        <a:srgbClr val="DDCCB6"/>
      </a:accent6>
      <a:hlink>
        <a:srgbClr val="CA2110"/>
      </a:hlink>
      <a:folHlink>
        <a:srgbClr val="EFB400"/>
      </a:folHlink>
    </a:clrScheme>
    <a:fontScheme name="Навчання">
      <a:majorFont>
        <a:latin typeface="Ermilov"/>
        <a:ea typeface=""/>
        <a:cs typeface="Arial"/>
      </a:majorFont>
      <a:minorFont>
        <a:latin typeface="Roboto"/>
        <a:ea typeface=""/>
        <a:cs typeface="Arial"/>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2</TotalTime>
  <Words>5668</Words>
  <Application>Microsoft Office PowerPoint</Application>
  <PresentationFormat>Широкий екран</PresentationFormat>
  <Paragraphs>517</Paragraphs>
  <Slides>87</Slides>
  <Notes>0</Notes>
  <HiddenSlides>0</HiddenSlides>
  <MMClips>0</MMClips>
  <ScaleCrop>false</ScaleCrop>
  <HeadingPairs>
    <vt:vector size="8" baseType="variant">
      <vt:variant>
        <vt:lpstr>Використані шрифти</vt:lpstr>
      </vt:variant>
      <vt:variant>
        <vt:i4>15</vt:i4>
      </vt:variant>
      <vt:variant>
        <vt:lpstr>Тема</vt:lpstr>
      </vt:variant>
      <vt:variant>
        <vt:i4>1</vt:i4>
      </vt:variant>
      <vt:variant>
        <vt:lpstr>Вбудовані сервери OLE</vt:lpstr>
      </vt:variant>
      <vt:variant>
        <vt:i4>1</vt:i4>
      </vt:variant>
      <vt:variant>
        <vt:lpstr>Заголовки слайдів</vt:lpstr>
      </vt:variant>
      <vt:variant>
        <vt:i4>87</vt:i4>
      </vt:variant>
    </vt:vector>
  </HeadingPairs>
  <TitlesOfParts>
    <vt:vector size="104" baseType="lpstr">
      <vt:lpstr>Arial</vt:lpstr>
      <vt:lpstr>Calibri</vt:lpstr>
      <vt:lpstr>Calibri Light</vt:lpstr>
      <vt:lpstr>Comic Sans MS</vt:lpstr>
      <vt:lpstr>Ermilov</vt:lpstr>
      <vt:lpstr>e-Ukraine Bold</vt:lpstr>
      <vt:lpstr>e-Ukraine Head LOGO</vt:lpstr>
      <vt:lpstr>Franklin Gothic Book</vt:lpstr>
      <vt:lpstr>Franklin Gothic Demi</vt:lpstr>
      <vt:lpstr>Franklin Gothic Heavy</vt:lpstr>
      <vt:lpstr>Helvetica</vt:lpstr>
      <vt:lpstr>Roboto</vt:lpstr>
      <vt:lpstr>Segoe Script</vt:lpstr>
      <vt:lpstr>Tahoma</vt:lpstr>
      <vt:lpstr>Times New Roman</vt:lpstr>
      <vt:lpstr>Тема Office</vt:lpstr>
      <vt:lpstr>think-cell Slide</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lpstr>Презентаці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Yaroslav Zhydyk</dc:creator>
  <cp:lastModifiedBy>Yaroslav Zhydyk</cp:lastModifiedBy>
  <cp:revision>1</cp:revision>
  <dcterms:created xsi:type="dcterms:W3CDTF">2022-10-29T10:41:43Z</dcterms:created>
  <dcterms:modified xsi:type="dcterms:W3CDTF">2023-09-09T08:11:53Z</dcterms:modified>
</cp:coreProperties>
</file>